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99" r:id="rId5"/>
    <p:sldMasterId id="2147483716" r:id="rId6"/>
    <p:sldMasterId id="2147483748" r:id="rId7"/>
  </p:sldMasterIdLst>
  <p:notesMasterIdLst>
    <p:notesMasterId r:id="rId26"/>
  </p:notesMasterIdLst>
  <p:sldIdLst>
    <p:sldId id="329" r:id="rId8"/>
    <p:sldId id="283" r:id="rId9"/>
    <p:sldId id="285" r:id="rId10"/>
    <p:sldId id="286" r:id="rId11"/>
    <p:sldId id="287" r:id="rId12"/>
    <p:sldId id="288" r:id="rId13"/>
    <p:sldId id="579" r:id="rId14"/>
    <p:sldId id="289" r:id="rId15"/>
    <p:sldId id="263" r:id="rId16"/>
    <p:sldId id="291" r:id="rId17"/>
    <p:sldId id="292" r:id="rId18"/>
    <p:sldId id="262" r:id="rId19"/>
    <p:sldId id="264" r:id="rId20"/>
    <p:sldId id="260" r:id="rId21"/>
    <p:sldId id="282" r:id="rId22"/>
    <p:sldId id="580" r:id="rId23"/>
    <p:sldId id="387" r:id="rId24"/>
    <p:sldId id="471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D6EB415-8594-8EB5-229E-2802D68E0861}" name="Masdal, Margunn Langedal" initials="ML" userId="S::marmas@ihelse.net::7e48a1ed-99aa-4654-9f42-34692bc29021" providerId="AD"/>
  <p188:author id="{37CF54AB-DE0F-A385-BD09-FD7D8428A2F1}" name="Stafsnes, Liv" initials="SL" userId="S::listaf@ihelse.net::96b08620-d2a4-4787-a40e-62e4aeae7a0c" providerId="AD"/>
  <p188:author id="{2DE1D5BF-709D-BED5-C07C-1236266F0EE6}" name="Kleiven, Marit" initials="KM" userId="S::maklei@ihelse.net::3b552071-0be3-4ba3-a991-f3ffe52cb82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ECD1"/>
    <a:srgbClr val="6FA287"/>
    <a:srgbClr val="BFCED6"/>
    <a:srgbClr val="FF671F"/>
    <a:srgbClr val="FFC845"/>
    <a:srgbClr val="6CACE4"/>
    <a:srgbClr val="ADDFB3"/>
    <a:srgbClr val="333333"/>
    <a:srgbClr val="212121"/>
    <a:srgbClr val="557C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A21AFD-8F55-4A99-B641-FAEF857A46D4}" v="46" dt="2024-02-28T18:27:01.8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sfarg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30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960893-A16A-41EC-A345-21341206551B}" type="datetimeFigureOut">
              <a:rPr lang="nb-NO" smtClean="0"/>
              <a:t>29.02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F0F946-1FAF-45A5-AF44-93AAD9AA8D3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670349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aldar for lysbilet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aldar for nota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aldar for lysbilet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F0F946-1FAF-45A5-AF44-93AAD9AA8D37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496267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aldar for lysbilet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aldar for nota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aldar for lysbilet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73CF5AB-EAE9-46D5-89E8-6506A99A8E62}" type="slidenum">
              <a:rPr lang="nn-NO" smtClean="0"/>
              <a:t>9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8954216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F0F946-1FAF-45A5-AF44-93AAD9AA8D37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60594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151EAE-9C68-4586-99E1-D5BEBBBC63B1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26264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Plassholder for nota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b-NO" altLang="nb-NO">
              <a:latin typeface="Arial" panose="020B0604020202020204" pitchFamily="34" charset="0"/>
            </a:endParaRPr>
          </a:p>
        </p:txBody>
      </p:sp>
      <p:sp>
        <p:nvSpPr>
          <p:cNvPr id="18436" name="Plassholder for lysbilde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6FEC4B2-3150-43F7-B337-292ABD2E1B09}" type="slidenum">
              <a:rPr kumimoji="0" lang="nn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n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Plassholder for nota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b-NO" altLang="nb-NO">
              <a:latin typeface="Arial" panose="020B060402020202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D2EF83-7EC7-40E0-8FED-8EADEFCA2AB7}" type="slidenum">
              <a:rPr kumimoji="0" lang="nn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n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713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n-NO"/>
              <a:t>Klikk for å redigere undertittelstil i malen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35EFE49-716E-4BC2-9EFC-F6C4F62E78E1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78722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AE63A93-2561-4A89-A7E2-7BE8335815AC}" type="datetime1">
              <a:rPr lang="nb-NO" smtClean="0"/>
              <a:t>29.02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2886FD8-E3F1-4AF6-B1B3-56C5C0F27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0099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9D6546F-BDA3-480D-81D5-6D1B8A13EF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4438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331544C7-6E4D-4FCE-B743-A772C08B1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0"/>
            <a:ext cx="107722" cy="3649664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180915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n-NO"/>
              <a:t>Klikk for å redigere tekststilar i malen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8B1DF3D-C6BE-4D4E-957F-C6DEF92025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1264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n-NO"/>
              <a:t>Klikk for å redigere tekststila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D12513-0937-438B-92B2-80ABB131DF2B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274A5EE-0306-47C8-95FA-9176D50FAB4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91264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84119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F26BDD0-8444-406F-A543-4E312E51B5A4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55A6CEE8-9BD3-4F79-BFFB-FCCC2C7483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8055499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D09085-7D4B-4E10-9C99-B8BD245DBFE6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4" y="864037"/>
            <a:ext cx="6931025" cy="1169551"/>
          </a:xfrm>
        </p:spPr>
        <p:txBody>
          <a:bodyPr lIns="0" tIns="0" rIns="0" bIns="0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3239" y="976312"/>
            <a:ext cx="406876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4" y="2413000"/>
            <a:ext cx="6931025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BE31FBC-3E87-4906-8AF2-8C42F3A72D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5182401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0532F98-8284-484E-8BF4-A5270B91B9B5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77327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B37DE26-D1C3-4958-AAD0-4B083C57A7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9031774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n-NO"/>
              <a:t>Klikk for å redigere tekststila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910D29F-BF1C-499C-865B-AE569007ACDD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FF8DB92C-8780-4508-8B81-50F7017091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7043489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B51F30-4B04-4CED-95D8-06D381065EE3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noAutofit/>
          </a:bodyPr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4" name="Plassholder for bilde 3">
            <a:extLst>
              <a:ext uri="{FF2B5EF4-FFF2-40B4-BE49-F238E27FC236}">
                <a16:creationId xmlns:a16="http://schemas.microsoft.com/office/drawing/2014/main" id="{13A60648-8934-4097-B0A8-3EAAC644EE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6925" y="1931822"/>
            <a:ext cx="10594975" cy="4130842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728619-46BA-4E25-9B80-6EE5C107EB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1931821"/>
            <a:ext cx="107722" cy="4130842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42842128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tittel og plassholder for ikon">
    <p:bg>
      <p:bgPr>
        <a:solidFill>
          <a:srgbClr val="BFCED6">
            <a:alpha val="6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91BB3812-6B92-41AA-B031-D8E21DD4438F}"/>
              </a:ext>
            </a:extLst>
          </p:cNvPr>
          <p:cNvSpPr/>
          <p:nvPr userDrawn="1"/>
        </p:nvSpPr>
        <p:spPr>
          <a:xfrm>
            <a:off x="7727950" y="0"/>
            <a:ext cx="4464050" cy="6858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96CB9A-6DD9-4653-8D14-4D1DE607FA66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A11D1591-3D05-48F9-81D2-4C1C533E0F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63898" y="1521190"/>
            <a:ext cx="4132078" cy="35096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bildeknappen for å sette inn ikon her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B722D91D-A69A-7F4F-B7A5-57E3F7AA62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8426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bilde og tittel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CB06730-514D-447A-AC1B-D56E4CAC2848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1819DB7C-4281-4A4C-92FC-574B03EC3C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972122"/>
            <a:ext cx="7727950" cy="51096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59AE6E74-257D-40FA-ACE0-1C3E8F4E5B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2971029" y="3643868"/>
            <a:ext cx="107722" cy="5109651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20A73530-78F3-E246-8269-0BF01BB426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5722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kun titt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2EA38832-0BFF-B141-8DEA-3ABA4C0DEF7B}"/>
              </a:ext>
            </a:extLst>
          </p:cNvPr>
          <p:cNvSpPr/>
          <p:nvPr userDrawn="1"/>
        </p:nvSpPr>
        <p:spPr>
          <a:xfrm>
            <a:off x="7734928" y="-11723"/>
            <a:ext cx="4467600" cy="6876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229358-32AD-4AE8-84CE-030CC25296FA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2222499"/>
            <a:ext cx="5099050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lt1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7B98F3BF-61B5-204E-A801-FADFF39059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684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400"/>
            <a:ext cx="12192000" cy="5871600"/>
          </a:xfrm>
          <a:prstGeom prst="rect">
            <a:avLst/>
          </a:prstGeom>
          <a:solidFill>
            <a:srgbClr val="557C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n-NO"/>
              <a:t>Klikk for å redigere undertittelstil i malen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5C60970-FE6A-4F74-8A2F-7457C909ED37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849604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blå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AD0F42-88F7-4426-8B24-A2C24B047AD9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1CF77BC4-34AA-4675-BE55-234304E214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83688B5B-08F8-FA49-95AB-92CF82DF88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3906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grå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9583505E-4570-4F62-ADB7-70756F9DF1AC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BB590AD2-59FE-4C3E-BC34-FC6D87F3F5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C7B1B64B-7C38-FD4D-B5D1-1522D3F3A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7249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gul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38E33CC-B1F4-4813-A999-EED8B2EAC101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86CF46EF-E081-41C3-825D-4BA7493F57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E76823CC-DB1B-4D46-A8C6-681C444DE9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7912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oransj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51FA0B6-9C87-4C98-ADA4-2C6291B734DD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41B1D584-DC2C-4F86-AE3C-330E146FFC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571B3C1C-3A60-374F-B8A7-9FFE601F6D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1374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F1EF2F0-C0B3-4DDF-B074-ED4EBB865B32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FD0E5513-0F25-4043-A538-F261F2E814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7117382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FFC845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4F814F8-3CDD-44DD-99FC-CAF34234AF00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2C4E6FEF-2A19-41B8-8242-4CA6ED614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8548784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FF671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1F81B52-8C46-4FD3-80AA-F8D04D565F97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9B93BCF4-D4C9-491C-A218-228C67A6BA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7568061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si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3606932"/>
            <a:ext cx="365760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3657600" cy="3421796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976313"/>
            <a:ext cx="2905563" cy="2080894"/>
          </a:xfrm>
        </p:spPr>
        <p:txBody>
          <a:bodyPr wrap="square" lIns="0" tIns="0" rIns="0" bIns="0" anchor="b">
            <a:noAutofit/>
          </a:bodyPr>
          <a:lstStyle>
            <a:lvl1pPr algn="l">
              <a:defRPr sz="30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A5D0A0-3330-4C0A-B64F-5D4900BE51BD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84BB0569-EDCB-4706-8CA5-8F3806870E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2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54300F52-CFB3-452D-903D-1580694589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091" y="976312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7" name="Plassholder for bilde 13">
            <a:extLst>
              <a:ext uri="{FF2B5EF4-FFF2-40B4-BE49-F238E27FC236}">
                <a16:creationId xmlns:a16="http://schemas.microsoft.com/office/drawing/2014/main" id="{B7BD9287-7C8F-4BDF-BF95-F9EDB343C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4215084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7F012555-5605-4B3C-A7BE-0D84B36DD3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4035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DDCA7E7D-AD05-FD42-BCB7-23DB825A31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1652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side med teks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3606932"/>
            <a:ext cx="365760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3657600" cy="34217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976313"/>
            <a:ext cx="2905563" cy="2080894"/>
          </a:xfrm>
        </p:spPr>
        <p:txBody>
          <a:bodyPr wrap="square" lIns="0" tIns="0" rIns="0" bIns="0" anchor="b">
            <a:noAutofit/>
          </a:bodyPr>
          <a:lstStyle>
            <a:lvl1pPr algn="l">
              <a:defRPr sz="3000">
                <a:solidFill>
                  <a:schemeClr val="lt1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CC385112-3A4D-4279-8CF6-408D59E1AB50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B34D56FD-DF40-4637-BDBF-FC95E4ED6D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2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2E917D5D-4BEE-49A6-8234-EED58A0D2F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091" y="976312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4" name="Plassholder for bilde 13">
            <a:extLst>
              <a:ext uri="{FF2B5EF4-FFF2-40B4-BE49-F238E27FC236}">
                <a16:creationId xmlns:a16="http://schemas.microsoft.com/office/drawing/2014/main" id="{44A564FB-6BFF-44C9-A3F6-BAB13C57C27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4215084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6" name="Plassholder for tekst 2">
            <a:extLst>
              <a:ext uri="{FF2B5EF4-FFF2-40B4-BE49-F238E27FC236}">
                <a16:creationId xmlns:a16="http://schemas.microsoft.com/office/drawing/2014/main" id="{9D6CF72D-7AE9-41DC-9027-08F669A56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4035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EF2B3289-D73E-9041-81C4-599835800B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8728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med teks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8129816" y="3828502"/>
            <a:ext cx="3657600" cy="302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BE63069-959E-4D9D-BB1B-BE05AA3FDCEE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20341" y="4140200"/>
            <a:ext cx="2905563" cy="2386373"/>
          </a:xfrm>
        </p:spPr>
        <p:txBody>
          <a:bodyPr wrap="square" lIns="0" tIns="0" rIns="0" bIns="0" anchor="t">
            <a:noAutofit/>
          </a:bodyPr>
          <a:lstStyle>
            <a:lvl1pPr algn="l">
              <a:defRPr sz="3000">
                <a:solidFill>
                  <a:schemeClr val="lt1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46588" y="3828502"/>
            <a:ext cx="3697374" cy="264784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4846D70E-D806-42B4-A444-56599B3EDD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46586" y="976312"/>
            <a:ext cx="7539013" cy="2683091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A159A91A-2F6D-4739-AE54-9831A38C86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818352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867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n-NO"/>
              <a:t>Klikk for å redigere undertittelstil i malen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BF4CE17-8F5C-4F1D-B0BF-C08FC4116DFF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39134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248517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150E18-AA93-43E3-AC46-77D640A04D5A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6400" y="3606933"/>
            <a:ext cx="367129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15DF30A0-9F84-452A-A444-45F063653C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3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526789EA-E13E-48A6-BBE3-130F44F5D2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976313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8" name="Plassholder for bilde 13">
            <a:extLst>
              <a:ext uri="{FF2B5EF4-FFF2-40B4-BE49-F238E27FC236}">
                <a16:creationId xmlns:a16="http://schemas.microsoft.com/office/drawing/2014/main" id="{D541F21A-E060-4545-9758-1ADA5E8A9E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091" y="4215085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EDAC5FE1-F477-4417-B183-216CDB7FFF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E8FAE8B1-32ED-5C4A-AA20-DC08D54EF6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44400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02CBD6-E0D6-437A-B3ED-7511445B7987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0727" y="976313"/>
            <a:ext cx="7530112" cy="266496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0C59660-6576-47AC-AB0D-A04DB9B8FA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0726" y="3828466"/>
            <a:ext cx="3697374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8A8E1D40-0565-408A-B029-F0A20B771F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13229" y="3828465"/>
            <a:ext cx="3667609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20" name="Plassholder for bilde 12">
            <a:extLst>
              <a:ext uri="{FF2B5EF4-FFF2-40B4-BE49-F238E27FC236}">
                <a16:creationId xmlns:a16="http://schemas.microsoft.com/office/drawing/2014/main" id="{BD103718-D9CD-43DD-812C-E66A699835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D18FA0C-C228-4F44-82C8-F0AEBBED9B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9B145B0F-189F-DA43-B9D2-107B5875D3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0729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9044BC9-C33A-4F00-AB6A-0402DE569525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9">
            <a:extLst>
              <a:ext uri="{FF2B5EF4-FFF2-40B4-BE49-F238E27FC236}">
                <a16:creationId xmlns:a16="http://schemas.microsoft.com/office/drawing/2014/main" id="{1FF6A982-1173-45CF-8196-51E2C53BD4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45369" y="976313"/>
            <a:ext cx="3701262" cy="5500032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3" name="Plassholder for bilde 9">
            <a:extLst>
              <a:ext uri="{FF2B5EF4-FFF2-40B4-BE49-F238E27FC236}">
                <a16:creationId xmlns:a16="http://schemas.microsoft.com/office/drawing/2014/main" id="{DD90688F-0610-4E9F-91A1-4B902D1D10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09342" y="976313"/>
            <a:ext cx="3671496" cy="5500032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DD9A2790-C9EC-4CCF-898E-A5B002E7EEB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FCA85F74-51BB-4D73-8859-F8FDD47BFE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4CB1699F-D6F9-834B-8C3F-53277732D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9112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52F1F83-84DB-401C-8D12-940686D604DF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EE68CC7D-AA5C-4399-BA6B-E5EBFF4DB4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Plassholder for bilde 12">
            <a:extLst>
              <a:ext uri="{FF2B5EF4-FFF2-40B4-BE49-F238E27FC236}">
                <a16:creationId xmlns:a16="http://schemas.microsoft.com/office/drawing/2014/main" id="{38118730-7423-4715-8302-6A6FCBEE59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262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43924911-BEA6-4E57-BF82-1AF6C36DB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86ECAC1C-5713-E146-A144-378A135969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19161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t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A638D09-8691-4371-A556-A09705D5D536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12">
            <a:extLst>
              <a:ext uri="{FF2B5EF4-FFF2-40B4-BE49-F238E27FC236}">
                <a16:creationId xmlns:a16="http://schemas.microsoft.com/office/drawing/2014/main" id="{0D544DBE-4338-44E3-A81D-6B4E650A7A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11374438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C81084AF-41EE-488F-A708-C8CAD2EA5E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0AAED46D-CB9C-AF40-AD84-A77B11F753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3446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ul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96926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5E21243-0A53-4B5E-8D26-9A5A7EC3969A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spAutoFit/>
          </a:bodyPr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6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A9A60586-33CD-4C12-BD20-BB7CB6F21AC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96926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2C109AC8-F42F-45B9-9DF9-AE98BCB84EE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96926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9474D08C-07FB-4270-9741-F3F245E9DC5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700135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9" name="Plassholder for innhold 2">
            <a:extLst>
              <a:ext uri="{FF2B5EF4-FFF2-40B4-BE49-F238E27FC236}">
                <a16:creationId xmlns:a16="http://schemas.microsoft.com/office/drawing/2014/main" id="{E69F2686-45C5-4D95-9EAF-D46D534ED3D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700135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20" name="Plassholder for tekst 2">
            <a:extLst>
              <a:ext uri="{FF2B5EF4-FFF2-40B4-BE49-F238E27FC236}">
                <a16:creationId xmlns:a16="http://schemas.microsoft.com/office/drawing/2014/main" id="{3FF69A63-78FB-49C5-852E-1C7559E69BF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700135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827A236F-F1E3-43A3-AEB2-F8044067EF4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700135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08251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CE88AE4-D6DC-47D7-95AB-19E519618CFA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60565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B01A1F4-F13F-4618-960E-81237E5EA3BF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 anchor="t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980D9618-CA67-4EEF-97EF-B19AAD4D2B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2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CACE4"/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1" name="Plassholder for tekst 20">
            <a:extLst>
              <a:ext uri="{FF2B5EF4-FFF2-40B4-BE49-F238E27FC236}">
                <a16:creationId xmlns:a16="http://schemas.microsoft.com/office/drawing/2014/main" id="{294781A3-E6F4-4901-810C-582E1E51DB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0263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C845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F43E154C-A850-46AE-94EE-7DA3A017E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8427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671F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3" name="Plassholder for tekst 22">
            <a:extLst>
              <a:ext uri="{FF2B5EF4-FFF2-40B4-BE49-F238E27FC236}">
                <a16:creationId xmlns:a16="http://schemas.microsoft.com/office/drawing/2014/main" id="{0B365A76-FEDD-4EE5-8005-0FEC4515D9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6591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BFCED6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FAF72941-2213-48F9-A258-464DB4AE06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0475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FA287">
              <a:alpha val="6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6" name="Plassholder for tekst 25">
            <a:extLst>
              <a:ext uri="{FF2B5EF4-FFF2-40B4-BE49-F238E27FC236}">
                <a16:creationId xmlns:a16="http://schemas.microsoft.com/office/drawing/2014/main" id="{B683161D-B5CD-4402-B040-A0C5301211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6925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</p:txBody>
      </p:sp>
      <p:sp>
        <p:nvSpPr>
          <p:cNvPr id="27" name="Plassholder for tekst 25">
            <a:extLst>
              <a:ext uri="{FF2B5EF4-FFF2-40B4-BE49-F238E27FC236}">
                <a16:creationId xmlns:a16="http://schemas.microsoft.com/office/drawing/2014/main" id="{1CFE57D9-0F71-4D97-9C49-4F0EEE5E8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70263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</p:txBody>
      </p:sp>
      <p:sp>
        <p:nvSpPr>
          <p:cNvPr id="28" name="Plassholder for tekst 25">
            <a:extLst>
              <a:ext uri="{FF2B5EF4-FFF2-40B4-BE49-F238E27FC236}">
                <a16:creationId xmlns:a16="http://schemas.microsoft.com/office/drawing/2014/main" id="{CEC8F951-6502-4237-9074-25F2C25EBA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43601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</p:txBody>
      </p:sp>
      <p:sp>
        <p:nvSpPr>
          <p:cNvPr id="29" name="Plassholder for tekst 25">
            <a:extLst>
              <a:ext uri="{FF2B5EF4-FFF2-40B4-BE49-F238E27FC236}">
                <a16:creationId xmlns:a16="http://schemas.microsoft.com/office/drawing/2014/main" id="{8045DC42-5803-46CB-B7A0-A131E09853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16939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</p:txBody>
      </p:sp>
      <p:sp>
        <p:nvSpPr>
          <p:cNvPr id="30" name="Plassholder for tekst 25">
            <a:extLst>
              <a:ext uri="{FF2B5EF4-FFF2-40B4-BE49-F238E27FC236}">
                <a16:creationId xmlns:a16="http://schemas.microsoft.com/office/drawing/2014/main" id="{154DCB59-20D9-44F4-BD70-3558B1E4C1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90277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</p:txBody>
      </p:sp>
    </p:spTree>
    <p:extLst>
      <p:ext uri="{BB962C8B-B14F-4D97-AF65-F5344CB8AC3E}">
        <p14:creationId xmlns:p14="http://schemas.microsoft.com/office/powerpoint/2010/main" val="15292448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chemeClr val="lt2"/>
          </a:solidFill>
        </p:spPr>
        <p:txBody>
          <a:bodyPr lIns="0" tIns="144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4379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00077" y="900113"/>
            <a:ext cx="10966371" cy="5400675"/>
          </a:xfrm>
          <a:solidFill>
            <a:schemeClr val="accent1"/>
          </a:solidFill>
        </p:spPr>
        <p:txBody>
          <a:bodyPr lIns="540000" tIns="540000" rIns="5040000" bIns="2448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080137" y="5550694"/>
            <a:ext cx="840105" cy="270033"/>
          </a:xfrm>
        </p:spPr>
        <p:txBody>
          <a:bodyPr/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fld id="{EAF8FF6D-C7DE-4615-AA24-0018D686901C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Autofit/>
          </a:bodyPr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r>
              <a:rPr lang="nb-NO"/>
              <a:t>Sengepostar og hotell i Nye Førde sjukehus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547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med tekst og lit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6" y="1919145"/>
            <a:ext cx="5099049" cy="1169551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6926" y="3429000"/>
            <a:ext cx="5099049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n-NO"/>
              <a:t>Klikk for å redigere undertittelstil i malen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3A77A0-1B30-4FB6-A7F4-2AB117921877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ilde 8">
            <a:extLst>
              <a:ext uri="{FF2B5EF4-FFF2-40B4-BE49-F238E27FC236}">
                <a16:creationId xmlns:a16="http://schemas.microsoft.com/office/drawing/2014/main" id="{272F82BE-F1C9-48CB-AC9E-52F6EFCCF4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91263" y="976312"/>
            <a:ext cx="5097462" cy="5086351"/>
          </a:xfrm>
          <a:solidFill>
            <a:schemeClr val="lt2"/>
          </a:solidFill>
        </p:spPr>
        <p:txBody>
          <a:bodyPr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19A61B69-527E-204C-A794-5F5CC653CA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0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76B1D5F-6793-304B-A952-1D5516B71E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7219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7" y="900114"/>
            <a:ext cx="10966371" cy="5400675"/>
          </a:xfrm>
          <a:prstGeom prst="rect">
            <a:avLst/>
          </a:prstGeom>
          <a:solidFill>
            <a:srgbClr val="AAA09B"/>
          </a:solidFill>
        </p:spPr>
        <p:txBody>
          <a:bodyPr lIns="0" tIns="1980000" rIns="0" bIns="0" anchor="t" anchorCtr="1"/>
          <a:lstStyle>
            <a:lvl1pPr marL="0" indent="0">
              <a:buNone/>
              <a:defRPr sz="1500">
                <a:solidFill>
                  <a:schemeClr val="lt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1050131" y="1350169"/>
            <a:ext cx="6150768" cy="692498"/>
          </a:xfrm>
          <a:noFill/>
        </p:spPr>
        <p:txBody>
          <a:bodyPr lIns="0" tIns="0" rIns="0" bIns="0" anchor="t">
            <a:spAutoFit/>
          </a:bodyPr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Legg til tittel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1090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2085" y="900113"/>
            <a:ext cx="10849356" cy="5400675"/>
          </a:xfrm>
          <a:solidFill>
            <a:srgbClr val="AAA09B"/>
          </a:solidFill>
        </p:spPr>
        <p:txBody>
          <a:bodyPr lIns="540000" tIns="540000" rIns="5040000" bIns="2448000" anchor="t">
            <a:normAutofit/>
          </a:bodyPr>
          <a:lstStyle>
            <a:lvl1pPr>
              <a:lnSpc>
                <a:spcPct val="90000"/>
              </a:lnSpc>
              <a:defRPr sz="416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>
          <a:xfrm>
            <a:off x="1080137" y="5550694"/>
            <a:ext cx="840105" cy="270033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fld id="{C9C4AC95-E960-4E37-9EE0-D65BA4E14432}" type="datetime1">
              <a:rPr lang="nb-NO" smtClean="0"/>
              <a:t>29.02.2024</a:t>
            </a:fld>
            <a:endParaRPr lang="nb-NO"/>
          </a:p>
        </p:txBody>
      </p:sp>
      <p:sp>
        <p:nvSpPr>
          <p:cNvPr id="9" name="Plassholder for bunntekst 8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r>
              <a:rPr lang="nb-NO"/>
              <a:t>Sengepostar og hotell i Nye Førde sjukehus </a:t>
            </a:r>
          </a:p>
        </p:txBody>
      </p:sp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>
          <a:xfrm>
            <a:off x="11233405" y="6401050"/>
            <a:ext cx="288036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6508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0075" y="1950245"/>
            <a:ext cx="8701088" cy="435054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DACEB-0688-423D-9BEC-1477B8B45087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6091133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tekst &amp; innhold /m undertit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7" y="1800227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55" indent="0">
              <a:buNone/>
              <a:defRPr sz="1667" b="1"/>
            </a:lvl2pPr>
            <a:lvl3pPr marL="761910" indent="0">
              <a:buNone/>
              <a:defRPr sz="1500" b="1"/>
            </a:lvl3pPr>
            <a:lvl4pPr marL="1142863" indent="0">
              <a:buNone/>
              <a:defRPr sz="1333" b="1"/>
            </a:lvl4pPr>
            <a:lvl5pPr marL="1523817" indent="0">
              <a:buNone/>
              <a:defRPr sz="1333" b="1"/>
            </a:lvl5pPr>
            <a:lvl6pPr marL="1904772" indent="0">
              <a:buNone/>
              <a:defRPr sz="1333" b="1"/>
            </a:lvl6pPr>
            <a:lvl7pPr marL="2285727" indent="0">
              <a:buNone/>
              <a:defRPr sz="1333" b="1"/>
            </a:lvl7pPr>
            <a:lvl8pPr marL="2666680" indent="0">
              <a:buNone/>
              <a:defRPr sz="1333" b="1"/>
            </a:lvl8pPr>
            <a:lvl9pPr marL="3047634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7" y="2550322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CEFE4-6129-48B1-B9AF-D7DAADD97E0C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7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5338164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&amp;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7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08063-D243-4B1D-A691-6B763CEB6A41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7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600304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tekst og teks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7" y="1800227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55" indent="0">
              <a:buNone/>
              <a:defRPr sz="1667" b="1"/>
            </a:lvl2pPr>
            <a:lvl3pPr marL="761910" indent="0">
              <a:buNone/>
              <a:defRPr sz="1500" b="1"/>
            </a:lvl3pPr>
            <a:lvl4pPr marL="1142863" indent="0">
              <a:buNone/>
              <a:defRPr sz="1333" b="1"/>
            </a:lvl4pPr>
            <a:lvl5pPr marL="1523817" indent="0">
              <a:buNone/>
              <a:defRPr sz="1333" b="1"/>
            </a:lvl5pPr>
            <a:lvl6pPr marL="1904772" indent="0">
              <a:buNone/>
              <a:defRPr sz="1333" b="1"/>
            </a:lvl6pPr>
            <a:lvl7pPr marL="2285727" indent="0">
              <a:buNone/>
              <a:defRPr sz="1333" b="1"/>
            </a:lvl7pPr>
            <a:lvl8pPr marL="2666680" indent="0">
              <a:buNone/>
              <a:defRPr sz="1333" b="1"/>
            </a:lvl8pPr>
            <a:lvl9pPr marL="3047634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7" y="2550322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CE35C0-5328-4EFF-B38D-01A998AF92FB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7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99346116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7" y="900114"/>
            <a:ext cx="10966371" cy="5400675"/>
          </a:xfrm>
          <a:prstGeom prst="rect">
            <a:avLst/>
          </a:prstGeom>
          <a:solidFill>
            <a:schemeClr val="lt2"/>
          </a:solidFill>
        </p:spPr>
        <p:txBody>
          <a:bodyPr lIns="0" tIns="144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71034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2" hasCustomPrompt="1"/>
          </p:nvPr>
        </p:nvSpPr>
        <p:spPr>
          <a:xfrm>
            <a:off x="600077" y="900114"/>
            <a:ext cx="10966371" cy="5400675"/>
          </a:xfrm>
          <a:prstGeom prst="rect">
            <a:avLst/>
          </a:prstGeom>
          <a:solidFill>
            <a:srgbClr val="DBD6D4"/>
          </a:solidFill>
        </p:spPr>
        <p:txBody>
          <a:bodyPr lIns="0" tIns="1440000" rIns="0" bIns="0" anchor="ctr"/>
          <a:lstStyle>
            <a:lvl1pPr marL="0" indent="0" algn="ctr">
              <a:buNone/>
              <a:defRPr sz="100" baseline="0"/>
            </a:lvl1pPr>
          </a:lstStyle>
          <a:p>
            <a:pPr lvl="0"/>
            <a:r>
              <a:rPr lang="nb-NO" sz="100"/>
              <a:t> </a:t>
            </a:r>
            <a:endParaRPr lang="nb-NO"/>
          </a:p>
        </p:txBody>
      </p:sp>
      <p:sp>
        <p:nvSpPr>
          <p:cNvPr id="4" name="Plassholder for bilde 6"/>
          <p:cNvSpPr>
            <a:spLocks noGrp="1"/>
          </p:cNvSpPr>
          <p:nvPr>
            <p:ph type="pic" sz="quarter" idx="11" hasCustomPrompt="1"/>
          </p:nvPr>
        </p:nvSpPr>
        <p:spPr>
          <a:xfrm>
            <a:off x="4163020" y="1800226"/>
            <a:ext cx="3840480" cy="3600450"/>
          </a:xfrm>
          <a:prstGeom prst="rect">
            <a:avLst/>
          </a:prstGeom>
          <a:noFill/>
        </p:spPr>
        <p:txBody>
          <a:bodyPr lIns="0" tIns="108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Ikon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646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x bilder /m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3"/>
            <a:ext cx="3600450" cy="1800225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1"/>
          </p:nvPr>
        </p:nvSpPr>
        <p:spPr>
          <a:xfrm>
            <a:off x="4365549" y="900114"/>
            <a:ext cx="3450431" cy="2700338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bilde 6"/>
          <p:cNvSpPr>
            <a:spLocks noGrp="1"/>
          </p:cNvSpPr>
          <p:nvPr>
            <p:ph type="pic" sz="quarter" idx="12"/>
          </p:nvPr>
        </p:nvSpPr>
        <p:spPr>
          <a:xfrm>
            <a:off x="4365549" y="3750472"/>
            <a:ext cx="3450431" cy="2550319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3" name="Plassholder for innhold 12"/>
          <p:cNvSpPr>
            <a:spLocks noGrp="1"/>
          </p:cNvSpPr>
          <p:nvPr>
            <p:ph sz="quarter" idx="15"/>
          </p:nvPr>
        </p:nvSpPr>
        <p:spPr>
          <a:xfrm>
            <a:off x="600075" y="2850359"/>
            <a:ext cx="3600450" cy="34504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360000" tIns="360000" rIns="360000" bIns="360000">
            <a:norm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500" b="1">
                <a:solidFill>
                  <a:schemeClr val="lt1"/>
                </a:solidFill>
                <a:latin typeface="Cambria" panose="02040503050406030204" pitchFamily="18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Plassholder for bilde 6"/>
          <p:cNvSpPr>
            <a:spLocks noGrp="1"/>
          </p:cNvSpPr>
          <p:nvPr>
            <p:ph type="pic" sz="quarter" idx="16"/>
          </p:nvPr>
        </p:nvSpPr>
        <p:spPr>
          <a:xfrm>
            <a:off x="7965996" y="900115"/>
            <a:ext cx="3600450" cy="5400674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2744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0077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0787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CD5E9F-77A7-4564-AA1D-2F6FC7FB2DE1}" type="datetime1">
              <a:rPr lang="nb-NO" smtClean="0"/>
              <a:t>29.02.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600078" y="900113"/>
            <a:ext cx="10951369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184285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med tekst og lite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064000" cy="6873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7ABC5F84-5B0B-40B1-95B9-B8959CC84B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8513" y="976312"/>
            <a:ext cx="5097462" cy="5086351"/>
          </a:xfrm>
          <a:solidFill>
            <a:schemeClr val="lt2"/>
          </a:solidFill>
        </p:spPr>
        <p:txBody>
          <a:bodyPr/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1264" y="1919145"/>
            <a:ext cx="5097462" cy="1169551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1264" y="3429000"/>
            <a:ext cx="5097462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n-NO"/>
              <a:t>Klikk for å redigere undertittelstil i malen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DF2BF78-71A9-4214-8D45-00E0363A513E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FDE9D9C-A8AB-CF48-8328-3B918E7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06" y="2413000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A3BAEC17-17CB-9943-A4B3-CFACD18E37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7925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7" y="1800227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55" indent="0">
              <a:buNone/>
              <a:defRPr sz="1667" b="1"/>
            </a:lvl2pPr>
            <a:lvl3pPr marL="761910" indent="0">
              <a:buNone/>
              <a:defRPr sz="1500" b="1"/>
            </a:lvl3pPr>
            <a:lvl4pPr marL="1142863" indent="0">
              <a:buNone/>
              <a:defRPr sz="1333" b="1"/>
            </a:lvl4pPr>
            <a:lvl5pPr marL="1523817" indent="0">
              <a:buNone/>
              <a:defRPr sz="1333" b="1"/>
            </a:lvl5pPr>
            <a:lvl6pPr marL="1904772" indent="0">
              <a:buNone/>
              <a:defRPr sz="1333" b="1"/>
            </a:lvl6pPr>
            <a:lvl7pPr marL="2285727" indent="0">
              <a:buNone/>
              <a:defRPr sz="1333" b="1"/>
            </a:lvl7pPr>
            <a:lvl8pPr marL="2666680" indent="0">
              <a:buNone/>
              <a:defRPr sz="1333" b="1"/>
            </a:lvl8pPr>
            <a:lvl9pPr marL="3047634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7" y="2550322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300787" y="1800227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55" indent="0">
              <a:buNone/>
              <a:defRPr sz="1667" b="1"/>
            </a:lvl2pPr>
            <a:lvl3pPr marL="761910" indent="0">
              <a:buNone/>
              <a:defRPr sz="1500" b="1"/>
            </a:lvl3pPr>
            <a:lvl4pPr marL="1142863" indent="0">
              <a:buNone/>
              <a:defRPr sz="1333" b="1"/>
            </a:lvl4pPr>
            <a:lvl5pPr marL="1523817" indent="0">
              <a:buNone/>
              <a:defRPr sz="1333" b="1"/>
            </a:lvl5pPr>
            <a:lvl6pPr marL="1904772" indent="0">
              <a:buNone/>
              <a:defRPr sz="1333" b="1"/>
            </a:lvl6pPr>
            <a:lvl7pPr marL="2285727" indent="0">
              <a:buNone/>
              <a:defRPr sz="1333" b="1"/>
            </a:lvl7pPr>
            <a:lvl8pPr marL="2666680" indent="0">
              <a:buNone/>
              <a:defRPr sz="1333" b="1"/>
            </a:lvl8pPr>
            <a:lvl9pPr marL="3047634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300787" y="2550322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6D6C4-8C10-4CB9-8716-18B81364C2B0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941329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B532E5-BC06-471C-8749-B0B9B8305BDA}" type="datetime1">
              <a:rPr lang="nb-NO" smtClean="0"/>
              <a:t>29.02.2024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85382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6F8426-8397-4825-803E-478F78CA1F97}" type="datetime1">
              <a:rPr lang="nb-NO" smtClean="0"/>
              <a:t>29.02.2024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5788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ald med punktli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2" y="2066906"/>
            <a:ext cx="10694860" cy="1467267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>
              <a:defRPr sz="2417">
                <a:latin typeface="Arial"/>
                <a:cs typeface="Arial"/>
              </a:defRPr>
            </a:lvl1pPr>
            <a:lvl2pPr>
              <a:defRPr sz="2417">
                <a:latin typeface="Arial"/>
                <a:cs typeface="Arial"/>
              </a:defRPr>
            </a:lvl2pPr>
            <a:lvl3pPr>
              <a:defRPr sz="2417">
                <a:latin typeface="Arial"/>
                <a:cs typeface="Arial"/>
              </a:defRPr>
            </a:lvl3pPr>
            <a:lvl4pPr>
              <a:defRPr sz="2417">
                <a:latin typeface="Arial"/>
                <a:cs typeface="Arial"/>
              </a:defRPr>
            </a:lvl4pPr>
            <a:lvl5pPr>
              <a:defRPr sz="2417">
                <a:latin typeface="Arial"/>
                <a:cs typeface="Arial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cxnSp>
        <p:nvCxnSpPr>
          <p:cNvPr id="20" name="Rett linje 19"/>
          <p:cNvCxnSpPr/>
          <p:nvPr userDrawn="1"/>
        </p:nvCxnSpPr>
        <p:spPr>
          <a:xfrm>
            <a:off x="2" y="367858"/>
            <a:ext cx="10126675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20"/>
          <p:cNvCxnSpPr/>
          <p:nvPr userDrawn="1"/>
        </p:nvCxnSpPr>
        <p:spPr>
          <a:xfrm>
            <a:off x="10673644" y="1725452"/>
            <a:ext cx="1948112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uppe 21"/>
          <p:cNvGrpSpPr/>
          <p:nvPr userDrawn="1"/>
        </p:nvGrpSpPr>
        <p:grpSpPr>
          <a:xfrm>
            <a:off x="9390796" y="344549"/>
            <a:ext cx="1913664" cy="1416312"/>
            <a:chOff x="1361705" y="363625"/>
            <a:chExt cx="509429" cy="502708"/>
          </a:xfrm>
          <a:solidFill>
            <a:srgbClr val="E7E9F5"/>
          </a:solidFill>
        </p:grpSpPr>
        <p:sp>
          <p:nvSpPr>
            <p:cNvPr id="23" name="Ellipse 22"/>
            <p:cNvSpPr/>
            <p:nvPr userDrawn="1"/>
          </p:nvSpPr>
          <p:spPr>
            <a:xfrm>
              <a:off x="1550088" y="363625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58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1550088" y="733671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5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58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5" name="Gruppe 24"/>
            <p:cNvGrpSpPr/>
            <p:nvPr userDrawn="1"/>
          </p:nvGrpSpPr>
          <p:grpSpPr>
            <a:xfrm>
              <a:off x="1361705" y="548648"/>
              <a:ext cx="509429" cy="132662"/>
              <a:chOff x="1361705" y="551638"/>
              <a:chExt cx="509429" cy="132662"/>
            </a:xfrm>
            <a:grpFill/>
          </p:grpSpPr>
          <p:sp>
            <p:nvSpPr>
              <p:cNvPr id="26" name="Ellipse 25"/>
              <p:cNvSpPr/>
              <p:nvPr userDrawn="1"/>
            </p:nvSpPr>
            <p:spPr>
              <a:xfrm>
                <a:off x="1552204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58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Ellipse 26"/>
              <p:cNvSpPr/>
              <p:nvPr userDrawn="1"/>
            </p:nvSpPr>
            <p:spPr>
              <a:xfrm>
                <a:off x="1361705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58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Ellipse 27"/>
              <p:cNvSpPr/>
              <p:nvPr userDrawn="1"/>
            </p:nvSpPr>
            <p:spPr>
              <a:xfrm>
                <a:off x="1738472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5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58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Tittel 1"/>
          <p:cNvSpPr>
            <a:spLocks noGrp="1"/>
          </p:cNvSpPr>
          <p:nvPr>
            <p:ph type="ctrTitle"/>
          </p:nvPr>
        </p:nvSpPr>
        <p:spPr>
          <a:xfrm>
            <a:off x="609602" y="710163"/>
            <a:ext cx="8517467" cy="456645"/>
          </a:xfrm>
          <a:prstGeom prst="rect">
            <a:avLst/>
          </a:prstGeom>
        </p:spPr>
        <p:txBody>
          <a:bodyPr wrap="square" lIns="91423" tIns="45711" rIns="91423" bIns="45711" anchor="t">
            <a:spAutoFit/>
          </a:bodyPr>
          <a:lstStyle>
            <a:lvl1pPr algn="l">
              <a:defRPr sz="3583" b="1">
                <a:latin typeface="Arial"/>
                <a:cs typeface="Arial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2" name="Bilde 1" descr="Helse Før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092750"/>
            <a:ext cx="3230880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25155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useside med tittel og plassholder for ikon">
    <p:bg>
      <p:bgPr>
        <a:solidFill>
          <a:srgbClr val="BFCED6">
            <a:alpha val="6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91BB3812-6B92-41AA-B031-D8E21DD4438F}"/>
              </a:ext>
            </a:extLst>
          </p:cNvPr>
          <p:cNvSpPr/>
          <p:nvPr userDrawn="1"/>
        </p:nvSpPr>
        <p:spPr>
          <a:xfrm>
            <a:off x="7727950" y="0"/>
            <a:ext cx="4464050" cy="6858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571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0620619-DCB5-4249-BF9C-FA72A534A684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49313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ngepostar og hotell i Nye Førde sjukehus 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3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A11D1591-3D05-48F9-81D2-4C1C533E0F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63898" y="1521191"/>
            <a:ext cx="4132078" cy="35096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bildeknappen for å sette inn ikon her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B722D91D-A69A-7F4F-B7A5-57E3F7AA62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1040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00075" y="900113"/>
            <a:ext cx="10966371" cy="5400675"/>
          </a:xfrm>
          <a:solidFill>
            <a:schemeClr val="accent1"/>
          </a:solidFill>
        </p:spPr>
        <p:txBody>
          <a:bodyPr lIns="540000" tIns="540000" rIns="5040000" bIns="2448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080135" y="5550694"/>
            <a:ext cx="840105" cy="270033"/>
          </a:xfrm>
        </p:spPr>
        <p:txBody>
          <a:bodyPr/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r>
              <a:rPr lang="nb-NO"/>
              <a:t>03.12.2019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Autofit/>
          </a:bodyPr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r>
              <a:rPr lang="nb-NO"/>
              <a:t>Portefølgjestyret, Helse Førde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244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rgbClr val="AAA09B"/>
          </a:solidFill>
        </p:spPr>
        <p:txBody>
          <a:bodyPr lIns="0" tIns="1980000" rIns="0" bIns="0" anchor="t" anchorCtr="1"/>
          <a:lstStyle>
            <a:lvl1pPr marL="0" indent="0">
              <a:buNone/>
              <a:defRPr sz="1500">
                <a:solidFill>
                  <a:schemeClr val="lt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1050131" y="1350169"/>
            <a:ext cx="6150768" cy="692498"/>
          </a:xfrm>
          <a:noFill/>
        </p:spPr>
        <p:txBody>
          <a:bodyPr lIns="0" tIns="0" rIns="0" bIns="0" anchor="t">
            <a:spAutoFit/>
          </a:bodyPr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Legg til tittel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9594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2085" y="900113"/>
            <a:ext cx="10849356" cy="5400675"/>
          </a:xfrm>
          <a:solidFill>
            <a:srgbClr val="AAA09B"/>
          </a:solidFill>
        </p:spPr>
        <p:txBody>
          <a:bodyPr lIns="540000" tIns="540000" rIns="5040000" bIns="2448000" anchor="t">
            <a:normAutofit/>
          </a:bodyPr>
          <a:lstStyle>
            <a:lvl1pPr>
              <a:lnSpc>
                <a:spcPct val="90000"/>
              </a:lnSpc>
              <a:defRPr sz="416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>
          <a:xfrm>
            <a:off x="1080135" y="5550694"/>
            <a:ext cx="840105" cy="270033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r>
              <a:rPr lang="nb-NO"/>
              <a:t>03.12.2019</a:t>
            </a:r>
          </a:p>
        </p:txBody>
      </p:sp>
      <p:sp>
        <p:nvSpPr>
          <p:cNvPr id="9" name="Plassholder for bunntekst 8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r>
              <a:rPr lang="nb-NO"/>
              <a:t>Portefølgjestyret, Helse Førde </a:t>
            </a:r>
          </a:p>
        </p:txBody>
      </p:sp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>
          <a:xfrm>
            <a:off x="11233405" y="6401050"/>
            <a:ext cx="288036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5725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0075" y="1950245"/>
            <a:ext cx="8701088" cy="435054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528841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tekst &amp; innhold /m undertit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6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679539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2C6BCA24-2492-4D5E-851B-D133BE6BD08C}"/>
              </a:ext>
            </a:extLst>
          </p:cNvPr>
          <p:cNvSpPr/>
          <p:nvPr userDrawn="1"/>
        </p:nvSpPr>
        <p:spPr>
          <a:xfrm>
            <a:off x="406400" y="0"/>
            <a:ext cx="4064400" cy="4939200"/>
          </a:xfrm>
          <a:prstGeom prst="rect">
            <a:avLst/>
          </a:prstGeom>
          <a:solidFill>
            <a:srgbClr val="CEEC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3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8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n-NO"/>
              <a:t>Klikk for å redigere undertittelstil i malen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540A8F8-C481-4CBC-B329-75A7F15DEA2F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9B83EA47-4C8F-6945-9467-5327596A61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8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160062233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&amp;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075206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tekst og teks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8514629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chemeClr val="lt2"/>
          </a:solidFill>
        </p:spPr>
        <p:txBody>
          <a:bodyPr lIns="0" tIns="144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6099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2" hasCustomPrompt="1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rgbClr val="DBD6D4"/>
          </a:solidFill>
        </p:spPr>
        <p:txBody>
          <a:bodyPr lIns="0" tIns="1440000" rIns="0" bIns="0" anchor="ctr"/>
          <a:lstStyle>
            <a:lvl1pPr marL="0" indent="0" algn="ctr">
              <a:buNone/>
              <a:defRPr sz="100" baseline="0"/>
            </a:lvl1pPr>
          </a:lstStyle>
          <a:p>
            <a:pPr lvl="0"/>
            <a:r>
              <a:rPr lang="nb-NO" sz="100"/>
              <a:t> </a:t>
            </a:r>
            <a:endParaRPr lang="nb-NO"/>
          </a:p>
        </p:txBody>
      </p:sp>
      <p:sp>
        <p:nvSpPr>
          <p:cNvPr id="4" name="Plassholder for bilde 6"/>
          <p:cNvSpPr>
            <a:spLocks noGrp="1"/>
          </p:cNvSpPr>
          <p:nvPr>
            <p:ph type="pic" sz="quarter" idx="11" hasCustomPrompt="1"/>
          </p:nvPr>
        </p:nvSpPr>
        <p:spPr>
          <a:xfrm>
            <a:off x="4163020" y="1800226"/>
            <a:ext cx="3840480" cy="3600450"/>
          </a:xfrm>
          <a:prstGeom prst="rect">
            <a:avLst/>
          </a:prstGeom>
          <a:noFill/>
        </p:spPr>
        <p:txBody>
          <a:bodyPr lIns="0" tIns="108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Ikon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2384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x bilder /m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3"/>
            <a:ext cx="3600450" cy="1800225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1"/>
          </p:nvPr>
        </p:nvSpPr>
        <p:spPr>
          <a:xfrm>
            <a:off x="4365547" y="900114"/>
            <a:ext cx="3450431" cy="2700338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bilde 6"/>
          <p:cNvSpPr>
            <a:spLocks noGrp="1"/>
          </p:cNvSpPr>
          <p:nvPr>
            <p:ph type="pic" sz="quarter" idx="12"/>
          </p:nvPr>
        </p:nvSpPr>
        <p:spPr>
          <a:xfrm>
            <a:off x="4365547" y="3750470"/>
            <a:ext cx="3450431" cy="2550319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3" name="Plassholder for innhold 12"/>
          <p:cNvSpPr>
            <a:spLocks noGrp="1"/>
          </p:cNvSpPr>
          <p:nvPr>
            <p:ph sz="quarter" idx="15"/>
          </p:nvPr>
        </p:nvSpPr>
        <p:spPr>
          <a:xfrm>
            <a:off x="600075" y="2850357"/>
            <a:ext cx="3600450" cy="34504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360000" tIns="360000" rIns="360000" bIns="360000">
            <a:norm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500" b="1">
                <a:solidFill>
                  <a:schemeClr val="lt1"/>
                </a:solidFill>
                <a:latin typeface="Cambria" panose="02040503050406030204" pitchFamily="18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Plassholder for bilde 6"/>
          <p:cNvSpPr>
            <a:spLocks noGrp="1"/>
          </p:cNvSpPr>
          <p:nvPr>
            <p:ph type="pic" sz="quarter" idx="16"/>
          </p:nvPr>
        </p:nvSpPr>
        <p:spPr>
          <a:xfrm>
            <a:off x="7965996" y="900113"/>
            <a:ext cx="3600450" cy="5400674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7983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0075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0787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600076" y="900113"/>
            <a:ext cx="10951369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157508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300787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300787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179585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470992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03.12.2019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Portefølgjestyret, Helse Førde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48763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meng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Rett linje 3"/>
          <p:cNvCxnSpPr/>
          <p:nvPr userDrawn="1"/>
        </p:nvCxnSpPr>
        <p:spPr>
          <a:xfrm>
            <a:off x="0" y="368300"/>
            <a:ext cx="10126133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" name="Rett linje 4"/>
          <p:cNvCxnSpPr/>
          <p:nvPr userDrawn="1"/>
        </p:nvCxnSpPr>
        <p:spPr>
          <a:xfrm>
            <a:off x="10674351" y="1725613"/>
            <a:ext cx="1947333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" name="Gruppe 5"/>
          <p:cNvGrpSpPr/>
          <p:nvPr userDrawn="1"/>
        </p:nvGrpSpPr>
        <p:grpSpPr>
          <a:xfrm>
            <a:off x="9390796" y="344549"/>
            <a:ext cx="1913664" cy="1416312"/>
            <a:chOff x="1361705" y="363625"/>
            <a:chExt cx="509429" cy="502708"/>
          </a:xfrm>
          <a:solidFill>
            <a:srgbClr val="E7E9F5"/>
          </a:solidFill>
        </p:grpSpPr>
        <p:sp>
          <p:nvSpPr>
            <p:cNvPr id="8" name="Ellipse 7"/>
            <p:cNvSpPr/>
            <p:nvPr/>
          </p:nvSpPr>
          <p:spPr>
            <a:xfrm>
              <a:off x="1550088" y="363625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>
                <a:solidFill>
                  <a:prstClr val="white"/>
                </a:solidFill>
              </a:endParaRPr>
            </a:p>
          </p:txBody>
        </p:sp>
        <p:sp>
          <p:nvSpPr>
            <p:cNvPr id="9" name="Ellipse 8"/>
            <p:cNvSpPr/>
            <p:nvPr/>
          </p:nvSpPr>
          <p:spPr>
            <a:xfrm>
              <a:off x="1550088" y="733671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nb-NO" sz="1800">
                <a:solidFill>
                  <a:prstClr val="white"/>
                </a:solidFill>
              </a:endParaRPr>
            </a:p>
          </p:txBody>
        </p:sp>
        <p:grpSp>
          <p:nvGrpSpPr>
            <p:cNvPr id="10" name="Gruppe 9"/>
            <p:cNvGrpSpPr/>
            <p:nvPr/>
          </p:nvGrpSpPr>
          <p:grpSpPr>
            <a:xfrm>
              <a:off x="1361705" y="548648"/>
              <a:ext cx="509429" cy="132662"/>
              <a:chOff x="1361705" y="551638"/>
              <a:chExt cx="509429" cy="132662"/>
            </a:xfrm>
            <a:grpFill/>
          </p:grpSpPr>
          <p:sp>
            <p:nvSpPr>
              <p:cNvPr id="11" name="Ellipse 10"/>
              <p:cNvSpPr/>
              <p:nvPr/>
            </p:nvSpPr>
            <p:spPr>
              <a:xfrm>
                <a:off x="1552204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Ellipse 11"/>
              <p:cNvSpPr/>
              <p:nvPr/>
            </p:nvSpPr>
            <p:spPr>
              <a:xfrm>
                <a:off x="1361705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>
              <a:xfrm>
                <a:off x="1738472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720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nb-NO" sz="180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14" name="Bilde 10" descr="Helse Før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1" y="6092826"/>
            <a:ext cx="3230033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1" y="2070100"/>
            <a:ext cx="10694859" cy="28212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2400">
                <a:latin typeface="Arial"/>
                <a:cs typeface="Arial"/>
              </a:defRPr>
            </a:lvl1pPr>
            <a:lvl2pPr>
              <a:defRPr sz="1400">
                <a:latin typeface="ScalaSans"/>
                <a:cs typeface="ScalaSans"/>
              </a:defRPr>
            </a:lvl2pPr>
            <a:lvl3pPr>
              <a:defRPr sz="1200">
                <a:latin typeface="ScalaSans"/>
                <a:cs typeface="ScalaSans"/>
              </a:defRPr>
            </a:lvl3pPr>
            <a:lvl4pPr>
              <a:defRPr sz="1100">
                <a:latin typeface="ScalaSans"/>
                <a:cs typeface="ScalaSans"/>
              </a:defRPr>
            </a:lvl4pPr>
            <a:lvl5pPr>
              <a:defRPr sz="1100">
                <a:latin typeface="ScalaSans"/>
                <a:cs typeface="ScalaSans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609600" y="710162"/>
            <a:ext cx="8517467" cy="364780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3600" b="1">
                <a:latin typeface="Arial"/>
                <a:cs typeface="Arial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850104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3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n-NO"/>
              <a:t>Klikk på ikonet for å leggje til eit bilete</a:t>
            </a:r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4064000" cy="49403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8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n-NO"/>
              <a:t>Klikk for å redigere undertittelstil i malen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EA361D0-87B0-4C01-8535-BCAFFBF87541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68FFDB9-DEC0-4ED2-AA73-EFDCD40205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bg1"/>
                </a:solidFill>
              </a:defRPr>
            </a:lvl1pPr>
          </a:lstStyle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BBF87C4-A7B5-134E-8831-50A2AE67C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8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41773696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00075" y="900113"/>
            <a:ext cx="10966371" cy="5400675"/>
          </a:xfrm>
          <a:solidFill>
            <a:schemeClr val="accent1"/>
          </a:solidFill>
        </p:spPr>
        <p:txBody>
          <a:bodyPr lIns="540000" tIns="540000" rIns="5040000" bIns="2448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080135" y="5550694"/>
            <a:ext cx="840105" cy="270033"/>
          </a:xfrm>
        </p:spPr>
        <p:txBody>
          <a:bodyPr/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fld id="{4C982ED5-D66E-4030-8E86-EB173AA672C4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Autofit/>
          </a:bodyPr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r>
              <a:rPr lang="nb-NO"/>
              <a:t>Sengepostar og hotell i Nye Førde sjukehus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0434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rgbClr val="AAA09B"/>
          </a:solidFill>
        </p:spPr>
        <p:txBody>
          <a:bodyPr lIns="0" tIns="1980000" rIns="0" bIns="0" anchor="t" anchorCtr="1"/>
          <a:lstStyle>
            <a:lvl1pPr marL="0" indent="0">
              <a:buNone/>
              <a:defRPr sz="1500">
                <a:solidFill>
                  <a:schemeClr val="lt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1050131" y="1350169"/>
            <a:ext cx="6150768" cy="692498"/>
          </a:xfrm>
          <a:noFill/>
        </p:spPr>
        <p:txBody>
          <a:bodyPr lIns="0" tIns="0" rIns="0" bIns="0" anchor="t">
            <a:spAutoFit/>
          </a:bodyPr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Legg til tittel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5076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2085" y="900113"/>
            <a:ext cx="10849356" cy="5400675"/>
          </a:xfrm>
          <a:solidFill>
            <a:srgbClr val="AAA09B"/>
          </a:solidFill>
        </p:spPr>
        <p:txBody>
          <a:bodyPr lIns="540000" tIns="540000" rIns="5040000" bIns="2448000" anchor="t">
            <a:normAutofit/>
          </a:bodyPr>
          <a:lstStyle>
            <a:lvl1pPr>
              <a:lnSpc>
                <a:spcPct val="90000"/>
              </a:lnSpc>
              <a:defRPr sz="416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>
          <a:xfrm>
            <a:off x="1080135" y="5550694"/>
            <a:ext cx="840105" cy="270033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fld id="{ECC792B3-558D-4444-8701-2ECAA7E2BBD8}" type="datetime1">
              <a:rPr lang="nb-NO" smtClean="0"/>
              <a:t>29.02.2024</a:t>
            </a:fld>
            <a:endParaRPr lang="nb-NO"/>
          </a:p>
        </p:txBody>
      </p:sp>
      <p:sp>
        <p:nvSpPr>
          <p:cNvPr id="9" name="Plassholder for bunntekst 8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r>
              <a:rPr lang="nb-NO"/>
              <a:t>Sengepostar og hotell i Nye Førde sjukehus </a:t>
            </a:r>
          </a:p>
        </p:txBody>
      </p:sp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>
          <a:xfrm>
            <a:off x="11233405" y="6401050"/>
            <a:ext cx="288036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6151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0075" y="1950245"/>
            <a:ext cx="8701088" cy="435054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F86E0-C78A-404B-9EE4-3ECD3D098588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7353756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tekst &amp; innhold /m undertit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88D7FA-CCFE-4FC4-B82F-D28CFDF75CD5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6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0619371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&amp;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BFB7A-52C5-4F2B-B341-671FABE39D75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896712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tekst og teks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88257-BA15-4F4B-B4B9-BDA6FF92EA3A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8042561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chemeClr val="lt2"/>
          </a:solidFill>
        </p:spPr>
        <p:txBody>
          <a:bodyPr lIns="0" tIns="144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9196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2" hasCustomPrompt="1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rgbClr val="DBD6D4"/>
          </a:solidFill>
        </p:spPr>
        <p:txBody>
          <a:bodyPr lIns="0" tIns="1440000" rIns="0" bIns="0" anchor="ctr"/>
          <a:lstStyle>
            <a:lvl1pPr marL="0" indent="0" algn="ctr">
              <a:buNone/>
              <a:defRPr sz="100" baseline="0"/>
            </a:lvl1pPr>
          </a:lstStyle>
          <a:p>
            <a:pPr lvl="0"/>
            <a:r>
              <a:rPr lang="nb-NO" sz="100"/>
              <a:t> </a:t>
            </a:r>
            <a:endParaRPr lang="nb-NO"/>
          </a:p>
        </p:txBody>
      </p:sp>
      <p:sp>
        <p:nvSpPr>
          <p:cNvPr id="4" name="Plassholder for bilde 6"/>
          <p:cNvSpPr>
            <a:spLocks noGrp="1"/>
          </p:cNvSpPr>
          <p:nvPr>
            <p:ph type="pic" sz="quarter" idx="11" hasCustomPrompt="1"/>
          </p:nvPr>
        </p:nvSpPr>
        <p:spPr>
          <a:xfrm>
            <a:off x="4163020" y="1800226"/>
            <a:ext cx="3840480" cy="3600450"/>
          </a:xfrm>
          <a:prstGeom prst="rect">
            <a:avLst/>
          </a:prstGeom>
          <a:noFill/>
        </p:spPr>
        <p:txBody>
          <a:bodyPr lIns="0" tIns="108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Ikon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078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x bilder /m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3"/>
            <a:ext cx="3600450" cy="1800225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1"/>
          </p:nvPr>
        </p:nvSpPr>
        <p:spPr>
          <a:xfrm>
            <a:off x="4365547" y="900114"/>
            <a:ext cx="3450431" cy="2700338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bilde 6"/>
          <p:cNvSpPr>
            <a:spLocks noGrp="1"/>
          </p:cNvSpPr>
          <p:nvPr>
            <p:ph type="pic" sz="quarter" idx="12"/>
          </p:nvPr>
        </p:nvSpPr>
        <p:spPr>
          <a:xfrm>
            <a:off x="4365547" y="3750470"/>
            <a:ext cx="3450431" cy="2550319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3" name="Plassholder for innhold 12"/>
          <p:cNvSpPr>
            <a:spLocks noGrp="1"/>
          </p:cNvSpPr>
          <p:nvPr>
            <p:ph sz="quarter" idx="15"/>
          </p:nvPr>
        </p:nvSpPr>
        <p:spPr>
          <a:xfrm>
            <a:off x="600075" y="2850357"/>
            <a:ext cx="3600450" cy="34504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360000" tIns="360000" rIns="360000" bIns="360000">
            <a:norm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500" b="1">
                <a:solidFill>
                  <a:schemeClr val="lt1"/>
                </a:solidFill>
                <a:latin typeface="Cambria" panose="02040503050406030204" pitchFamily="18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Plassholder for bilde 6"/>
          <p:cNvSpPr>
            <a:spLocks noGrp="1"/>
          </p:cNvSpPr>
          <p:nvPr>
            <p:ph type="pic" sz="quarter" idx="16"/>
          </p:nvPr>
        </p:nvSpPr>
        <p:spPr>
          <a:xfrm>
            <a:off x="7965996" y="900113"/>
            <a:ext cx="3600450" cy="5400674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535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74D9D44-98FA-4766-8341-8FC3D8633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747B07-4572-40CF-B463-9CF5EBF58E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6" y="2413000"/>
            <a:ext cx="8763000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869DCCC-FA35-4BC3-B401-3AF1C6FBD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852B1F4-6138-4225-A9A8-727786CA4CFA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C8BCE1B-16B5-4C51-BA48-E53851E99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2456F09-A299-4ECB-99F6-48D6F352D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84211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0075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0787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3E7BA8-EACC-4283-A01D-848B3B4E83AB}" type="datetime1">
              <a:rPr lang="nb-NO" smtClean="0"/>
              <a:t>29.02.2024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600076" y="900113"/>
            <a:ext cx="10951369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0171460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300787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300787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EE518C-D30B-4697-84E1-D80BD667980F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40915912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33CB49-5D4F-41EA-8E39-57AAF1DC0B47}" type="datetime1">
              <a:rPr lang="nb-NO" smtClean="0"/>
              <a:t>29.02.2024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469821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795796-EF57-4DD5-A0A5-246EB36B1D01}" type="datetime1">
              <a:rPr lang="nb-NO" smtClean="0"/>
              <a:t>29.02.2024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Sengepostar og hotell i Nye Førde sjukehus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397083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ald med punktli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9602" y="2066905"/>
            <a:ext cx="10694860" cy="2233930"/>
          </a:xfrm>
          <a:prstGeom prst="rect">
            <a:avLst/>
          </a:prstGeom>
        </p:spPr>
        <p:txBody>
          <a:bodyPr lIns="91423" tIns="45711" rIns="91423" bIns="45711">
            <a:spAutoFit/>
          </a:bodyPr>
          <a:lstStyle>
            <a:lvl1pPr>
              <a:defRPr sz="2417">
                <a:latin typeface="Arial"/>
                <a:cs typeface="Arial"/>
              </a:defRPr>
            </a:lvl1pPr>
            <a:lvl2pPr>
              <a:defRPr sz="2417">
                <a:latin typeface="Arial"/>
                <a:cs typeface="Arial"/>
              </a:defRPr>
            </a:lvl2pPr>
            <a:lvl3pPr>
              <a:defRPr sz="2417">
                <a:latin typeface="Arial"/>
                <a:cs typeface="Arial"/>
              </a:defRPr>
            </a:lvl3pPr>
            <a:lvl4pPr>
              <a:defRPr sz="2417">
                <a:latin typeface="Arial"/>
                <a:cs typeface="Arial"/>
              </a:defRPr>
            </a:lvl4pPr>
            <a:lvl5pPr>
              <a:defRPr sz="2417">
                <a:latin typeface="Arial"/>
                <a:cs typeface="Arial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cxnSp>
        <p:nvCxnSpPr>
          <p:cNvPr id="20" name="Rett linje 19"/>
          <p:cNvCxnSpPr/>
          <p:nvPr userDrawn="1"/>
        </p:nvCxnSpPr>
        <p:spPr>
          <a:xfrm>
            <a:off x="0" y="367858"/>
            <a:ext cx="10126675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20"/>
          <p:cNvCxnSpPr/>
          <p:nvPr userDrawn="1"/>
        </p:nvCxnSpPr>
        <p:spPr>
          <a:xfrm>
            <a:off x="10673644" y="1725452"/>
            <a:ext cx="1948112" cy="0"/>
          </a:xfrm>
          <a:prstGeom prst="line">
            <a:avLst/>
          </a:prstGeom>
          <a:ln w="63500" cap="rnd" cmpd="sng">
            <a:solidFill>
              <a:srgbClr val="E7E9F5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2" name="Gruppe 21"/>
          <p:cNvGrpSpPr/>
          <p:nvPr userDrawn="1"/>
        </p:nvGrpSpPr>
        <p:grpSpPr>
          <a:xfrm>
            <a:off x="9390796" y="344549"/>
            <a:ext cx="1913664" cy="1416312"/>
            <a:chOff x="1361705" y="363625"/>
            <a:chExt cx="509429" cy="502708"/>
          </a:xfrm>
          <a:solidFill>
            <a:srgbClr val="E7E9F5"/>
          </a:solidFill>
        </p:grpSpPr>
        <p:sp>
          <p:nvSpPr>
            <p:cNvPr id="23" name="Ellipse 22"/>
            <p:cNvSpPr/>
            <p:nvPr userDrawn="1"/>
          </p:nvSpPr>
          <p:spPr>
            <a:xfrm>
              <a:off x="1550088" y="363625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58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Ellipse 23"/>
            <p:cNvSpPr/>
            <p:nvPr userDrawn="1"/>
          </p:nvSpPr>
          <p:spPr>
            <a:xfrm>
              <a:off x="1550088" y="733671"/>
              <a:ext cx="132662" cy="132662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9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58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5" name="Gruppe 24"/>
            <p:cNvGrpSpPr/>
            <p:nvPr userDrawn="1"/>
          </p:nvGrpSpPr>
          <p:grpSpPr>
            <a:xfrm>
              <a:off x="1361705" y="548648"/>
              <a:ext cx="509429" cy="132662"/>
              <a:chOff x="1361705" y="551638"/>
              <a:chExt cx="509429" cy="132662"/>
            </a:xfrm>
            <a:grpFill/>
          </p:grpSpPr>
          <p:sp>
            <p:nvSpPr>
              <p:cNvPr id="26" name="Ellipse 25"/>
              <p:cNvSpPr/>
              <p:nvPr userDrawn="1"/>
            </p:nvSpPr>
            <p:spPr>
              <a:xfrm>
                <a:off x="1552204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58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Ellipse 26"/>
              <p:cNvSpPr/>
              <p:nvPr userDrawn="1"/>
            </p:nvSpPr>
            <p:spPr>
              <a:xfrm>
                <a:off x="1361705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58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Ellipse 27"/>
              <p:cNvSpPr/>
              <p:nvPr userDrawn="1"/>
            </p:nvSpPr>
            <p:spPr>
              <a:xfrm>
                <a:off x="1738472" y="551638"/>
                <a:ext cx="132662" cy="132662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9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583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Tittel 1"/>
          <p:cNvSpPr>
            <a:spLocks noGrp="1"/>
          </p:cNvSpPr>
          <p:nvPr>
            <p:ph type="ctrTitle"/>
          </p:nvPr>
        </p:nvSpPr>
        <p:spPr>
          <a:xfrm>
            <a:off x="609600" y="710162"/>
            <a:ext cx="8517467" cy="643684"/>
          </a:xfrm>
          <a:prstGeom prst="rect">
            <a:avLst/>
          </a:prstGeom>
        </p:spPr>
        <p:txBody>
          <a:bodyPr wrap="square" lIns="91423" tIns="45711" rIns="91423" bIns="45711" anchor="t">
            <a:spAutoFit/>
          </a:bodyPr>
          <a:lstStyle>
            <a:lvl1pPr algn="l">
              <a:defRPr sz="3583" b="1">
                <a:latin typeface="Arial"/>
                <a:cs typeface="Arial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2" name="Bilde 1" descr="Helse Førd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6092750"/>
            <a:ext cx="3230880" cy="493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7272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nholdsside med tekst, bilde og farget bakgrunn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FFC845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4F814F8-3CDD-44DD-99FC-CAF34234AF00}" type="datetime1">
              <a:rPr lang="nb-NO" smtClean="0"/>
              <a:t>29.02.2024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2C4E6FEF-2A19-41B8-8242-4CA6ED614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83244592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713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35EFE49-716E-4BC2-9EFC-F6C4F62E78E1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5170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n-NO"/>
              <a:t>Klikk for å redigere tittelstil</a:t>
            </a:r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C01F237-A6AB-4B8D-8F87-3AF6EC629C80}" type="datetime1">
              <a:rPr lang="nb-NO" smtClean="0"/>
              <a:t>29.02.2024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D4C05C0E-D386-4C2B-8D54-20A35582E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5E1BB4FF-EB57-43DA-9720-67307DA703D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1264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7785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9.emf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image" Target="../media/image8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57.xml"/><Relationship Id="rId21" Type="http://schemas.openxmlformats.org/officeDocument/2006/relationships/image" Target="../media/image8.jpeg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56.xml"/><Relationship Id="rId16" Type="http://schemas.openxmlformats.org/officeDocument/2006/relationships/theme" Target="../theme/theme3.xml"/><Relationship Id="rId20" Type="http://schemas.openxmlformats.org/officeDocument/2006/relationships/image" Target="../media/image12.emf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64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72.xml"/><Relationship Id="rId21" Type="http://schemas.openxmlformats.org/officeDocument/2006/relationships/image" Target="../media/image12.emf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oleObject" Target="../embeddings/oleObject4.bin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B707585-1FCA-C9C1-03D5-06624B2061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374867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43" imgH="446" progId="TCLayout.ActiveDocument.1">
                  <p:embed/>
                </p:oleObj>
              </mc:Choice>
              <mc:Fallback>
                <p:oleObj name="think-cell Slide" r:id="rId41" imgW="443" imgH="44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707585-1FCA-C9C1-03D5-06624B206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76DCC81-28CF-43BD-AB01-4A5711483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D41D179-E467-48CF-9B46-3F4C1069CF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413000"/>
            <a:ext cx="10594975" cy="3649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8CDE90B-F9D0-4094-A5DB-5AA1AE39E2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33925"/>
            <a:ext cx="27432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2"/>
                </a:solidFill>
              </a:defRPr>
            </a:lvl1pPr>
          </a:lstStyle>
          <a:p>
            <a:fld id="{38A75211-4ABF-4D09-AFA8-C3A9EEE6E2FC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A99EDB-DC56-4B77-9C83-A4B87C16B2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4912" y="6354990"/>
            <a:ext cx="101772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23CF0F-671C-4A4D-87DD-A1299D7B8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356" y="6354990"/>
            <a:ext cx="254543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 </a:t>
            </a:r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563EBB76-0109-8946-A231-B55D072A430D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  <p:sp>
        <p:nvSpPr>
          <p:cNvPr id="7" name="MSIPCMContentMarking" descr="{&quot;HashCode&quot;:610110512,&quot;Placement&quot;:&quot;Footer&quot;,&quot;Top&quot;:519.343,&quot;Left&quot;:0.0,&quot;SlideWidth&quot;:960,&quot;SlideHeight&quot;:540}"/>
          <p:cNvSpPr txBox="1"/>
          <p:nvPr userDrawn="1"/>
        </p:nvSpPr>
        <p:spPr>
          <a:xfrm>
            <a:off x="0" y="6595656"/>
            <a:ext cx="144612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1000">
                <a:solidFill>
                  <a:srgbClr val="000000"/>
                </a:solidFill>
                <a:latin typeface="Calibri" panose="020F0502020204030204" pitchFamily="34" charset="0"/>
              </a:rPr>
              <a:t>Følsomhet Intern (gul)</a:t>
            </a:r>
          </a:p>
        </p:txBody>
      </p:sp>
    </p:spTree>
    <p:extLst>
      <p:ext uri="{BB962C8B-B14F-4D97-AF65-F5344CB8AC3E}">
        <p14:creationId xmlns:p14="http://schemas.microsoft.com/office/powerpoint/2010/main" val="2007763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50" r:id="rId8"/>
    <p:sldLayoutId id="2147483652" r:id="rId9"/>
    <p:sldLayoutId id="2147483664" r:id="rId10"/>
    <p:sldLayoutId id="2147483653" r:id="rId11"/>
    <p:sldLayoutId id="2147483666" r:id="rId12"/>
    <p:sldLayoutId id="2147483667" r:id="rId13"/>
    <p:sldLayoutId id="2147483668" r:id="rId14"/>
    <p:sldLayoutId id="2147483665" r:id="rId15"/>
    <p:sldLayoutId id="2147483669" r:id="rId16"/>
    <p:sldLayoutId id="2147483651" r:id="rId17"/>
    <p:sldLayoutId id="2147483682" r:id="rId18"/>
    <p:sldLayoutId id="2147483681" r:id="rId19"/>
    <p:sldLayoutId id="2147483683" r:id="rId20"/>
    <p:sldLayoutId id="2147483684" r:id="rId21"/>
    <p:sldLayoutId id="2147483685" r:id="rId22"/>
    <p:sldLayoutId id="2147483686" r:id="rId23"/>
    <p:sldLayoutId id="2147483670" r:id="rId24"/>
    <p:sldLayoutId id="2147483671" r:id="rId25"/>
    <p:sldLayoutId id="2147483672" r:id="rId26"/>
    <p:sldLayoutId id="2147483673" r:id="rId27"/>
    <p:sldLayoutId id="2147483674" r:id="rId28"/>
    <p:sldLayoutId id="2147483675" r:id="rId29"/>
    <p:sldLayoutId id="2147483676" r:id="rId30"/>
    <p:sldLayoutId id="2147483677" r:id="rId31"/>
    <p:sldLayoutId id="2147483678" r:id="rId32"/>
    <p:sldLayoutId id="2147483679" r:id="rId33"/>
    <p:sldLayoutId id="2147483680" r:id="rId34"/>
    <p:sldLayoutId id="2147483688" r:id="rId35"/>
    <p:sldLayoutId id="2147483689" r:id="rId36"/>
    <p:sldLayoutId id="2147483687" r:id="rId37"/>
    <p:sldLayoutId id="2147483690" r:id="rId38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3048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1pPr>
      <a:lvl2pPr marL="6096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2pPr>
      <a:lvl3pPr marL="9144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3pPr>
      <a:lvl4pPr marL="12192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4pPr>
      <a:lvl5pPr marL="15240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5" userDrawn="1">
          <p15:clr>
            <a:srgbClr val="F26B43"/>
          </p15:clr>
        </p15:guide>
        <p15:guide id="2" orient="horz" pos="3819" userDrawn="1">
          <p15:clr>
            <a:srgbClr val="F26B43"/>
          </p15:clr>
        </p15:guide>
        <p15:guide id="3" pos="502" userDrawn="1">
          <p15:clr>
            <a:srgbClr val="F26B43"/>
          </p15:clr>
        </p15:guide>
        <p15:guide id="8" pos="3714" userDrawn="1">
          <p15:clr>
            <a:srgbClr val="F26B43"/>
          </p15:clr>
        </p15:guide>
        <p15:guide id="9" pos="3963" userDrawn="1">
          <p15:clr>
            <a:srgbClr val="F26B43"/>
          </p15:clr>
        </p15:guide>
        <p15:guide id="12" pos="7174" userDrawn="1">
          <p15:clr>
            <a:srgbClr val="F26B43"/>
          </p15:clr>
        </p15:guide>
        <p15:guide id="16" pos="7421" userDrawn="1">
          <p15:clr>
            <a:srgbClr val="F26B43"/>
          </p15:clr>
        </p15:guide>
        <p15:guide id="17" pos="25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16" imgH="416" progId="TCLayout.ActiveDocument.1">
                  <p:embed/>
                </p:oleObj>
              </mc:Choice>
              <mc:Fallback>
                <p:oleObj name="think-cell Slide" r:id="rId20" imgW="416" imgH="41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nb-NO" sz="25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8701088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950245"/>
            <a:ext cx="8701088" cy="43505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0075" y="6510815"/>
            <a:ext cx="96012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150A7D-0DF6-4D62-AB67-24D6127202F1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857625" y="6510815"/>
            <a:ext cx="7443538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/>
              <a:t>Sengepostar og hotell i Nye Førde sjukehus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84365" y="6510815"/>
            <a:ext cx="28803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768" y="277056"/>
            <a:ext cx="1595120" cy="325120"/>
          </a:xfrm>
          <a:prstGeom prst="rect">
            <a:avLst/>
          </a:prstGeom>
        </p:spPr>
      </p:pic>
      <p:sp>
        <p:nvSpPr>
          <p:cNvPr id="10" name="MSIPCMContentMarking" descr="{&quot;HashCode&quot;:610110512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82826328-3192-56FC-0902-8BDF21E7A2E1}"/>
              </a:ext>
            </a:extLst>
          </p:cNvPr>
          <p:cNvSpPr txBox="1"/>
          <p:nvPr userDrawn="1"/>
        </p:nvSpPr>
        <p:spPr>
          <a:xfrm>
            <a:off x="0" y="6595656"/>
            <a:ext cx="144612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1000">
                <a:solidFill>
                  <a:srgbClr val="000000"/>
                </a:solidFill>
                <a:latin typeface="Calibri" panose="020F0502020204030204" pitchFamily="34" charset="0"/>
              </a:rPr>
              <a:t>Følsomhet Intern (gul)</a:t>
            </a:r>
          </a:p>
        </p:txBody>
      </p:sp>
    </p:spTree>
    <p:extLst>
      <p:ext uri="{BB962C8B-B14F-4D97-AF65-F5344CB8AC3E}">
        <p14:creationId xmlns:p14="http://schemas.microsoft.com/office/powerpoint/2010/main" val="2215147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</p:sldLayoutIdLst>
  <p:hf sldNum="0" hdr="0" ftr="0" dt="0"/>
  <p:txStyles>
    <p:titleStyle>
      <a:lvl1pPr algn="l" defTabSz="761910" rtl="0" eaLnBrk="1" latinLnBrk="0" hangingPunct="1">
        <a:lnSpc>
          <a:spcPts val="2667"/>
        </a:lnSpc>
        <a:spcBef>
          <a:spcPct val="0"/>
        </a:spcBef>
        <a:buNone/>
        <a:defRPr sz="25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79" indent="-179979" algn="l" defTabSz="76191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56" indent="-179979" algn="l" defTabSz="76191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35" indent="-179979" algn="l" defTabSz="761910" rtl="0" eaLnBrk="1" latinLnBrk="0" hangingPunct="1">
        <a:lnSpc>
          <a:spcPts val="1833"/>
        </a:lnSpc>
        <a:spcBef>
          <a:spcPts val="333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719913" indent="-179979" algn="l" defTabSz="761910" rtl="0" eaLnBrk="1" latinLnBrk="0" hangingPunct="1">
        <a:lnSpc>
          <a:spcPts val="1667"/>
        </a:lnSpc>
        <a:spcBef>
          <a:spcPts val="33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9892" indent="-179979" algn="l" defTabSz="761910" rtl="0" eaLnBrk="1" latinLnBrk="0" hangingPunct="1">
        <a:lnSpc>
          <a:spcPts val="15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095248" indent="-190477" algn="l" defTabSz="76191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203" indent="-190477" algn="l" defTabSz="76191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157" indent="-190477" algn="l" defTabSz="76191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110" indent="-190477" algn="l" defTabSz="76191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55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10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863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817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772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727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680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634" algn="l" defTabSz="76191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nb-NO" sz="25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8701088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950245"/>
            <a:ext cx="8701088" cy="43505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0075" y="6510815"/>
            <a:ext cx="96012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/>
              <a:t>03.12.2019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857625" y="6510815"/>
            <a:ext cx="7443538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/>
              <a:t>Portefølgjestyret, Helse Førde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84363" y="6510815"/>
            <a:ext cx="28803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768" y="277056"/>
            <a:ext cx="1595120" cy="325120"/>
          </a:xfrm>
          <a:prstGeom prst="rect">
            <a:avLst/>
          </a:prstGeom>
        </p:spPr>
      </p:pic>
      <p:sp>
        <p:nvSpPr>
          <p:cNvPr id="10" name="MSIPCMContentMarking" descr="{&quot;HashCode&quot;:610110512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037EED4-4ADA-4FCC-9EB0-60498B5B776E}"/>
              </a:ext>
            </a:extLst>
          </p:cNvPr>
          <p:cNvSpPr txBox="1"/>
          <p:nvPr userDrawn="1"/>
        </p:nvSpPr>
        <p:spPr>
          <a:xfrm>
            <a:off x="0" y="6595656"/>
            <a:ext cx="144612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1000">
                <a:solidFill>
                  <a:srgbClr val="000000"/>
                </a:solidFill>
                <a:latin typeface="Calibri" panose="020F0502020204030204" pitchFamily="34" charset="0"/>
              </a:rPr>
              <a:t>Følsomhet Intern (gul)</a:t>
            </a:r>
          </a:p>
        </p:txBody>
      </p:sp>
    </p:spTree>
    <p:extLst>
      <p:ext uri="{BB962C8B-B14F-4D97-AF65-F5344CB8AC3E}">
        <p14:creationId xmlns:p14="http://schemas.microsoft.com/office/powerpoint/2010/main" val="158588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</p:sldLayoutIdLst>
  <p:hf sldNum="0" hdr="0"/>
  <p:txStyles>
    <p:titleStyle>
      <a:lvl1pPr algn="l" defTabSz="761970" rtl="0" eaLnBrk="1" latinLnBrk="0" hangingPunct="1">
        <a:lnSpc>
          <a:spcPts val="2667"/>
        </a:lnSpc>
        <a:spcBef>
          <a:spcPct val="0"/>
        </a:spcBef>
        <a:buNone/>
        <a:defRPr sz="25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3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6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78" indent="-179993" algn="l" defTabSz="761970" rtl="0" eaLnBrk="1" latinLnBrk="0" hangingPunct="1">
        <a:lnSpc>
          <a:spcPts val="1833"/>
        </a:lnSpc>
        <a:spcBef>
          <a:spcPts val="333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719971" indent="-179993" algn="l" defTabSz="761970" rtl="0" eaLnBrk="1" latinLnBrk="0" hangingPunct="1">
        <a:lnSpc>
          <a:spcPts val="1667"/>
        </a:lnSpc>
        <a:spcBef>
          <a:spcPts val="33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64" indent="-179993" algn="l" defTabSz="761970" rtl="0" eaLnBrk="1" latinLnBrk="0" hangingPunct="1">
        <a:lnSpc>
          <a:spcPts val="15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6AA8B53-2399-445C-AF58-AC06508553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55349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4" progId="TCLayout.ActiveDocument.1">
                  <p:embed/>
                </p:oleObj>
              </mc:Choice>
              <mc:Fallback>
                <p:oleObj name="think-cell Slide" r:id="rId20" imgW="395" imgH="39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6AA8B53-2399-445C-AF58-AC0650855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8701088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950245"/>
            <a:ext cx="8701088" cy="43505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0075" y="6510815"/>
            <a:ext cx="96012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F18596-26DD-4FF2-B790-785187880C07}" type="datetime1">
              <a:rPr lang="nb-NO" smtClean="0"/>
              <a:t>29.02.2024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857625" y="6510815"/>
            <a:ext cx="7443538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b-NO"/>
              <a:t>Sengepostar og hotell i Nye Førde sjukehus 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84363" y="6510815"/>
            <a:ext cx="28803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768" y="277056"/>
            <a:ext cx="1595120" cy="325120"/>
          </a:xfrm>
          <a:prstGeom prst="rect">
            <a:avLst/>
          </a:prstGeom>
        </p:spPr>
      </p:pic>
      <p:sp>
        <p:nvSpPr>
          <p:cNvPr id="7" name="MSIPCMContentMarking" descr="{&quot;HashCode&quot;:610110512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159DCC35-BE30-4AB3-B610-ADE0D9A23FB8}"/>
              </a:ext>
            </a:extLst>
          </p:cNvPr>
          <p:cNvSpPr txBox="1"/>
          <p:nvPr userDrawn="1"/>
        </p:nvSpPr>
        <p:spPr>
          <a:xfrm>
            <a:off x="0" y="6595656"/>
            <a:ext cx="1446127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1000">
                <a:solidFill>
                  <a:srgbClr val="000000"/>
                </a:solidFill>
                <a:latin typeface="Calibri" panose="020F0502020204030204" pitchFamily="34" charset="0"/>
              </a:rPr>
              <a:t>Følsomhet Intern (gul)</a:t>
            </a:r>
          </a:p>
        </p:txBody>
      </p:sp>
    </p:spTree>
    <p:extLst>
      <p:ext uri="{BB962C8B-B14F-4D97-AF65-F5344CB8AC3E}">
        <p14:creationId xmlns:p14="http://schemas.microsoft.com/office/powerpoint/2010/main" val="416231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</p:sldLayoutIdLst>
  <p:hf sldNum="0" hdr="0" ftr="0" dt="0"/>
  <p:txStyles>
    <p:titleStyle>
      <a:lvl1pPr algn="l" defTabSz="761970" rtl="0" eaLnBrk="1" latinLnBrk="0" hangingPunct="1">
        <a:lnSpc>
          <a:spcPts val="2667"/>
        </a:lnSpc>
        <a:spcBef>
          <a:spcPct val="0"/>
        </a:spcBef>
        <a:buNone/>
        <a:defRPr sz="25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3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6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78" indent="-179993" algn="l" defTabSz="761970" rtl="0" eaLnBrk="1" latinLnBrk="0" hangingPunct="1">
        <a:lnSpc>
          <a:spcPts val="1833"/>
        </a:lnSpc>
        <a:spcBef>
          <a:spcPts val="333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719971" indent="-179993" algn="l" defTabSz="761970" rtl="0" eaLnBrk="1" latinLnBrk="0" hangingPunct="1">
        <a:lnSpc>
          <a:spcPts val="1667"/>
        </a:lnSpc>
        <a:spcBef>
          <a:spcPts val="33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64" indent="-179993" algn="l" defTabSz="761970" rtl="0" eaLnBrk="1" latinLnBrk="0" hangingPunct="1">
        <a:lnSpc>
          <a:spcPts val="15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2677D14-7A8D-88C0-224D-35FDD0CFF7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4741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3" imgH="446" progId="TCLayout.ActiveDocument.1">
                  <p:embed/>
                </p:oleObj>
              </mc:Choice>
              <mc:Fallback>
                <p:oleObj name="think-cell Slide" r:id="rId4" imgW="443" imgH="44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677D14-7A8D-88C0-224D-35FDD0CFF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7B6AA6E7-56FA-479E-82A8-8AAA5B2543D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b-NO" sz="4400"/>
              <a:t>Nye Førde sjukehus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D25F8373-A817-47B3-85E4-5BCA32646F0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wrap="square" lIns="0" tIns="0" rIns="0" bIns="0" rtlCol="0" anchor="t">
            <a:noAutofit/>
          </a:bodyPr>
          <a:lstStyle/>
          <a:p>
            <a:r>
              <a:rPr lang="nb-NO" dirty="0"/>
              <a:t>Strategisk </a:t>
            </a:r>
            <a:r>
              <a:rPr lang="nb-NO" dirty="0" err="1"/>
              <a:t>samarbeidsutval</a:t>
            </a:r>
            <a:r>
              <a:rPr lang="nb-NO" dirty="0"/>
              <a:t> </a:t>
            </a:r>
            <a:r>
              <a:rPr lang="nb-NO" dirty="0" err="1"/>
              <a:t>kommunane</a:t>
            </a:r>
            <a:r>
              <a:rPr lang="nb-NO" dirty="0"/>
              <a:t> og Helse Førde</a:t>
            </a:r>
          </a:p>
          <a:p>
            <a:r>
              <a:rPr lang="nb-NO" dirty="0"/>
              <a:t>28.02.2024</a:t>
            </a:r>
            <a:endParaRPr lang="nb-NO" dirty="0">
              <a:cs typeface="Calibri"/>
            </a:endParaRPr>
          </a:p>
          <a:p>
            <a:endParaRPr lang="nb-NO" dirty="0"/>
          </a:p>
          <a:p>
            <a:r>
              <a:rPr lang="nb-NO" dirty="0"/>
              <a:t>Anne Kristin Kleiven,  utviklingsdirektør  </a:t>
            </a:r>
            <a:endParaRPr lang="nb-NO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690446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0A15FB9E-7B7A-82DB-BB39-E197F027E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anchor="t">
            <a:normAutofit/>
          </a:bodyPr>
          <a:lstStyle/>
          <a:p>
            <a:r>
              <a:rPr lang="nn-NO"/>
              <a:t>Tenesteutvikling i Pasientens helseteneste</a:t>
            </a:r>
          </a:p>
        </p:txBody>
      </p:sp>
      <p:sp>
        <p:nvSpPr>
          <p:cNvPr id="4" name="Plasshaldar for innhald 3">
            <a:extLst>
              <a:ext uri="{FF2B5EF4-FFF2-40B4-BE49-F238E27FC236}">
                <a16:creationId xmlns:a16="http://schemas.microsoft.com/office/drawing/2014/main" id="{C1FA165E-20C9-8D95-28A4-0A3F1D7AEF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91886" y="1521190"/>
            <a:ext cx="7162800" cy="4346210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nn-NO" sz="3600" b="1"/>
              <a:t>Overordna mål: </a:t>
            </a:r>
          </a:p>
          <a:p>
            <a:pPr marL="0" indent="0">
              <a:spcAft>
                <a:spcPts val="600"/>
              </a:spcAft>
              <a:buNone/>
            </a:pPr>
            <a:endParaRPr lang="nn-NO"/>
          </a:p>
          <a:p>
            <a:pPr marL="0" indent="0">
              <a:spcAft>
                <a:spcPts val="600"/>
              </a:spcAft>
              <a:buNone/>
            </a:pPr>
            <a:r>
              <a:rPr lang="nn-NO" sz="2800"/>
              <a:t>Å utvikle pasienten si helseteneste inneber tenester som er </a:t>
            </a:r>
            <a:r>
              <a:rPr lang="nn-NO" sz="2800" b="1"/>
              <a:t>samordna</a:t>
            </a:r>
            <a:r>
              <a:rPr lang="nn-NO" sz="2800"/>
              <a:t>, </a:t>
            </a:r>
            <a:r>
              <a:rPr lang="nn-NO" sz="2800" b="1"/>
              <a:t>tilpassa behov </a:t>
            </a:r>
            <a:r>
              <a:rPr lang="nn-NO" sz="2800"/>
              <a:t>og som gir pasienten så stor </a:t>
            </a:r>
            <a:r>
              <a:rPr lang="nn-NO" sz="2800" b="1"/>
              <a:t>medverknad </a:t>
            </a:r>
            <a:r>
              <a:rPr lang="nn-NO" sz="2800"/>
              <a:t>som råd. </a:t>
            </a:r>
          </a:p>
        </p:txBody>
      </p:sp>
    </p:spTree>
    <p:extLst>
      <p:ext uri="{BB962C8B-B14F-4D97-AF65-F5344CB8AC3E}">
        <p14:creationId xmlns:p14="http://schemas.microsoft.com/office/powerpoint/2010/main" val="30599004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A4C792D8-5D2E-90A6-B76A-625A406F82D3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654423" y="794231"/>
            <a:ext cx="10307361" cy="569481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4467987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DEAE98E-8C92-4A16-9B01-1C5569F87D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036" y="281630"/>
            <a:ext cx="7874564" cy="930837"/>
          </a:xfrm>
        </p:spPr>
        <p:txBody>
          <a:bodyPr/>
          <a:lstStyle/>
          <a:p>
            <a:r>
              <a:rPr lang="nb-NO" sz="3800" noProof="1"/>
              <a:t>Pasienttilbodet i Livabygget </a:t>
            </a:r>
            <a:endParaRPr lang="nb-NO" sz="380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311F976-4F6E-476D-A2DA-806D0739E8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6036" y="1783494"/>
            <a:ext cx="6985564" cy="4642706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endParaRPr lang="nb-NO"/>
          </a:p>
          <a:p>
            <a:r>
              <a:rPr lang="nb-NO" noProof="1"/>
              <a:t>Vi skal vere klare hausten 2024 til å ta imot </a:t>
            </a:r>
            <a:br>
              <a:rPr lang="nb-NO" noProof="1"/>
            </a:br>
            <a:r>
              <a:rPr lang="nb-NO" noProof="1"/>
              <a:t>pasientane </a:t>
            </a:r>
            <a:endParaRPr lang="nb-NO" noProof="1">
              <a:ea typeface="Calibri"/>
              <a:cs typeface="Calibri"/>
            </a:endParaRPr>
          </a:p>
          <a:p>
            <a:endParaRPr lang="nb-NO" noProof="1">
              <a:cs typeface="Calibri"/>
            </a:endParaRPr>
          </a:p>
          <a:p>
            <a:r>
              <a:rPr lang="nb-NO" noProof="1"/>
              <a:t>Betre </a:t>
            </a:r>
            <a:r>
              <a:rPr lang="nb-NO" b="1" noProof="1"/>
              <a:t>pasientbehandling </a:t>
            </a:r>
            <a:r>
              <a:rPr lang="nb-NO" noProof="1"/>
              <a:t>og </a:t>
            </a:r>
            <a:br>
              <a:rPr lang="nb-NO" noProof="1"/>
            </a:br>
            <a:r>
              <a:rPr lang="nb-NO" noProof="1"/>
              <a:t>betre </a:t>
            </a:r>
            <a:r>
              <a:rPr lang="nb-NO" b="1" noProof="1"/>
              <a:t>arbeidskvardag for tilsette </a:t>
            </a:r>
            <a:r>
              <a:rPr lang="nb-NO" noProof="1"/>
              <a:t>er måla våre</a:t>
            </a:r>
            <a:endParaRPr lang="nb-NO" noProof="1">
              <a:ea typeface="Calibri"/>
              <a:cs typeface="Calibri"/>
            </a:endParaRPr>
          </a:p>
          <a:p>
            <a:endParaRPr lang="nb-NO" noProof="1">
              <a:cs typeface="Calibri"/>
            </a:endParaRPr>
          </a:p>
          <a:p>
            <a:r>
              <a:rPr lang="nb-NO" b="1" noProof="1"/>
              <a:t>Stikkord for å få det til: </a:t>
            </a:r>
            <a:br>
              <a:rPr lang="nb-NO" noProof="1"/>
            </a:br>
            <a:r>
              <a:rPr lang="nb-NO" noProof="1"/>
              <a:t>samarbeid på tvers, best mogleg pasientflyt, </a:t>
            </a:r>
            <a:br>
              <a:rPr lang="nb-NO" noProof="1"/>
            </a:br>
            <a:r>
              <a:rPr lang="nb-NO" noProof="1"/>
              <a:t>betre utnytting av teknologi og digitale løysingar </a:t>
            </a:r>
            <a:endParaRPr lang="nb-NO" noProof="1">
              <a:ea typeface="Calibri"/>
              <a:cs typeface="Calibri"/>
            </a:endParaRPr>
          </a:p>
          <a:p>
            <a:endParaRPr lang="nb-NO" noProof="1">
              <a:cs typeface="Calibri"/>
            </a:endParaRPr>
          </a:p>
        </p:txBody>
      </p:sp>
      <p:pic>
        <p:nvPicPr>
          <p:cNvPr id="5" name="Picture 6">
            <a:extLst>
              <a:ext uri="{FF2B5EF4-FFF2-40B4-BE49-F238E27FC236}">
                <a16:creationId xmlns:a16="http://schemas.microsoft.com/office/drawing/2014/main" id="{44E6D520-41EE-550D-16F3-C3592BD86F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7192" y="2252678"/>
            <a:ext cx="5144218" cy="2898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6912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59A937-35CB-6BA1-62A9-55E93DEF3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620" y="286031"/>
            <a:ext cx="6826668" cy="623093"/>
          </a:xfrm>
        </p:spPr>
        <p:txBody>
          <a:bodyPr/>
          <a:lstStyle/>
          <a:p>
            <a:r>
              <a:rPr lang="en-US" noProof="1">
                <a:cs typeface="Calibri"/>
              </a:rPr>
              <a:t>Kva blir dei største endringane? 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9C6C7CE-1B8D-ABD4-B4B0-72D6364C536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2453" b="2453"/>
          <a:stretch/>
        </p:blipFill>
        <p:spPr>
          <a:xfrm>
            <a:off x="7655298" y="2184026"/>
            <a:ext cx="3744727" cy="2674938"/>
          </a:xfr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D51A87-D6B2-A48D-F0C9-5E700D7553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937" y="1094456"/>
            <a:ext cx="7145521" cy="5353077"/>
          </a:xfrm>
        </p:spPr>
        <p:txBody>
          <a:bodyPr vert="horz" lIns="0" tIns="0" rIns="0" bIns="0" rtlCol="0" anchor="t">
            <a:normAutofit fontScale="85000" lnSpcReduction="20000"/>
          </a:bodyPr>
          <a:lstStyle/>
          <a:p>
            <a:r>
              <a:rPr lang="en-US" b="1" noProof="1">
                <a:cs typeface="Calibri"/>
              </a:rPr>
              <a:t>Einerom til pasientane med pårørandeseng</a:t>
            </a:r>
            <a:r>
              <a:rPr lang="en-US" noProof="1">
                <a:cs typeface="Calibri"/>
              </a:rPr>
              <a:t> med høve for privatliv og trygge samtalar med personalet. Skjerm på alle pasientrom.  </a:t>
            </a:r>
          </a:p>
          <a:p>
            <a:endParaRPr lang="en-US" b="1" noProof="1">
              <a:cs typeface="Calibri"/>
            </a:endParaRPr>
          </a:p>
          <a:p>
            <a:r>
              <a:rPr lang="en-US" b="1" noProof="1">
                <a:cs typeface="Calibri"/>
              </a:rPr>
              <a:t>Familebasert omsorg </a:t>
            </a:r>
            <a:r>
              <a:rPr lang="en-US" noProof="1">
                <a:cs typeface="Calibri"/>
              </a:rPr>
              <a:t>– kvinneklinikken og barne- og ungdomsavdelinga flyttar saman i femte etasje og gir samarbeid og sambruk på tvers av klinikkane og sengerom med plass til familiar. </a:t>
            </a:r>
          </a:p>
          <a:p>
            <a:endParaRPr lang="en-US" b="1" noProof="1">
              <a:cs typeface="Calibri"/>
            </a:endParaRPr>
          </a:p>
          <a:p>
            <a:r>
              <a:rPr lang="en-US" b="1" noProof="1">
                <a:cs typeface="Calibri"/>
              </a:rPr>
              <a:t>Ti nye operasjonsstover</a:t>
            </a:r>
            <a:r>
              <a:rPr lang="en-US" noProof="1">
                <a:cs typeface="Calibri"/>
              </a:rPr>
              <a:t> som gir ein heilt anna arbeidsflyt og utnytting av operasjonskapasiteten.</a:t>
            </a:r>
          </a:p>
          <a:p>
            <a:endParaRPr lang="en-US" noProof="1">
              <a:cs typeface="Calibri"/>
            </a:endParaRPr>
          </a:p>
          <a:p>
            <a:r>
              <a:rPr lang="en-US" noProof="1">
                <a:cs typeface="Calibri"/>
              </a:rPr>
              <a:t>Ny moderne og </a:t>
            </a:r>
            <a:r>
              <a:rPr lang="en-US" b="1" noProof="1">
                <a:cs typeface="Calibri"/>
              </a:rPr>
              <a:t>avansert sterilsentra</a:t>
            </a:r>
            <a:r>
              <a:rPr lang="en-US" noProof="1">
                <a:cs typeface="Calibri"/>
              </a:rPr>
              <a:t>l som automatiserer ein del av arbeidsoppgåvene.</a:t>
            </a:r>
          </a:p>
          <a:p>
            <a:pPr marL="0" indent="0">
              <a:buNone/>
            </a:pPr>
            <a:endParaRPr lang="en-US" noProof="1">
              <a:cs typeface="Calibri"/>
            </a:endParaRPr>
          </a:p>
          <a:p>
            <a:r>
              <a:rPr lang="en-US" noProof="1">
                <a:cs typeface="Calibri"/>
              </a:rPr>
              <a:t>Etablering av </a:t>
            </a:r>
            <a:r>
              <a:rPr lang="en-US" b="1" noProof="1">
                <a:cs typeface="Calibri"/>
              </a:rPr>
              <a:t>farmasitun</a:t>
            </a:r>
            <a:r>
              <a:rPr lang="en-US" noProof="1">
                <a:cs typeface="Calibri"/>
              </a:rPr>
              <a:t> for tryggare legemiddelhandtering ved at sengepostane får tillaga medisiner. Medisinen vil bli levert ut via medisintraller.  </a:t>
            </a:r>
            <a:endParaRPr lang="en-US">
              <a:cs typeface="Calibri"/>
            </a:endParaRPr>
          </a:p>
          <a:p>
            <a:endParaRPr lang="en-US" b="1" noProof="1">
              <a:cs typeface="Calibri"/>
            </a:endParaRPr>
          </a:p>
          <a:p>
            <a:r>
              <a:rPr lang="en-US" b="1" noProof="1">
                <a:cs typeface="Calibri"/>
              </a:rPr>
              <a:t>Forenkla arbeidsprosessa</a:t>
            </a:r>
            <a:r>
              <a:rPr lang="en-US" noProof="1">
                <a:cs typeface="Calibri"/>
              </a:rPr>
              <a:t>r ved til dømes bruk av varsling og oversikter på digitale tavler og smarttelefonar. </a:t>
            </a:r>
          </a:p>
          <a:p>
            <a:endParaRPr lang="en-US" noProof="1">
              <a:cs typeface="Calibri"/>
            </a:endParaRPr>
          </a:p>
          <a:p>
            <a:r>
              <a:rPr lang="en-US" noProof="1">
                <a:cs typeface="Calibri"/>
              </a:rPr>
              <a:t>Nytt tilbod; </a:t>
            </a:r>
            <a:r>
              <a:rPr lang="en-US" b="1" noProof="1">
                <a:cs typeface="Calibri"/>
              </a:rPr>
              <a:t>observasjonspost</a:t>
            </a:r>
            <a:r>
              <a:rPr lang="en-US" noProof="1">
                <a:cs typeface="Calibri"/>
              </a:rPr>
              <a:t> for raskare avklaring av tilstand til pasienten. </a:t>
            </a:r>
          </a:p>
          <a:p>
            <a:endParaRPr lang="en-US" b="1" noProof="1">
              <a:cs typeface="Calibri"/>
            </a:endParaRPr>
          </a:p>
          <a:p>
            <a:r>
              <a:rPr lang="en-US" b="1" noProof="1">
                <a:cs typeface="Calibri"/>
              </a:rPr>
              <a:t>Ventesone</a:t>
            </a:r>
            <a:r>
              <a:rPr lang="en-US" noProof="1">
                <a:cs typeface="Calibri"/>
              </a:rPr>
              <a:t> for pasientar.</a:t>
            </a:r>
          </a:p>
          <a:p>
            <a:endParaRPr lang="en-US" noProof="1">
              <a:cs typeface="Calibri"/>
            </a:endParaRPr>
          </a:p>
          <a:p>
            <a:r>
              <a:rPr lang="en-US" b="1" noProof="1">
                <a:cs typeface="Calibri"/>
              </a:rPr>
              <a:t>Auka kapasitet ved pasienthotellet</a:t>
            </a:r>
            <a:r>
              <a:rPr lang="en-US" noProof="1">
                <a:cs typeface="Calibri"/>
              </a:rPr>
              <a:t>, som blir i Svanabygget. 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54D497-866A-07A2-3A7C-432344164A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4950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54A8C95-7B80-0195-0E6A-874CE81D5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613568"/>
            <a:ext cx="4956175" cy="725487"/>
          </a:xfrm>
        </p:spPr>
        <p:txBody>
          <a:bodyPr/>
          <a:lstStyle/>
          <a:p>
            <a:r>
              <a:rPr lang="nn-NO"/>
              <a:t>Øving gir verdifull innsikt </a:t>
            </a:r>
          </a:p>
        </p:txBody>
      </p:sp>
      <p:sp>
        <p:nvSpPr>
          <p:cNvPr id="4" name="Plasshaldar for innhald 3">
            <a:extLst>
              <a:ext uri="{FF2B5EF4-FFF2-40B4-BE49-F238E27FC236}">
                <a16:creationId xmlns:a16="http://schemas.microsoft.com/office/drawing/2014/main" id="{F010DD6A-3BF3-DC6E-2415-0549EB1AFD1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4" y="1741489"/>
            <a:ext cx="4802189" cy="4321175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n-NO"/>
              <a:t>Vi treng å øve på nye arbeidsmåtar og pasientflyt </a:t>
            </a:r>
            <a:r>
              <a:rPr lang="nn-NO" b="1"/>
              <a:t>før vi flyttar inn </a:t>
            </a:r>
            <a:r>
              <a:rPr lang="nn-NO"/>
              <a:t>i </a:t>
            </a:r>
            <a:r>
              <a:rPr lang="nn-NO" noProof="1"/>
              <a:t>Livabygget.</a:t>
            </a:r>
            <a:endParaRPr lang="nn-NO">
              <a:ea typeface="Calibri"/>
              <a:cs typeface="Calibri"/>
            </a:endParaRPr>
          </a:p>
          <a:p>
            <a:endParaRPr lang="nn-NO"/>
          </a:p>
          <a:p>
            <a:r>
              <a:rPr lang="nn-NO"/>
              <a:t>Nye samarbeidsformer på tvers av sengepostar og etasjar – målet er å nytte samla kompetanse og kapasitet best mogleg. </a:t>
            </a:r>
            <a:endParaRPr lang="nn-NO">
              <a:cs typeface="Calibri"/>
            </a:endParaRPr>
          </a:p>
          <a:p>
            <a:endParaRPr lang="nn-NO"/>
          </a:p>
          <a:p>
            <a:r>
              <a:rPr lang="nn-NO"/>
              <a:t>Øving og utprøving før innflytting vil gi verdifull innsikt i kva som er bra, kva vi må justere og kva vi ikkje bør gjere. </a:t>
            </a:r>
            <a:endParaRPr lang="nn-NO">
              <a:cs typeface="Calibri"/>
            </a:endParaRPr>
          </a:p>
          <a:p>
            <a:endParaRPr lang="nn-NO"/>
          </a:p>
          <a:p>
            <a:endParaRPr lang="nn-NO"/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9063D2F9-8750-5619-EF5C-872E9F4EB1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9644" y="873682"/>
            <a:ext cx="3989178" cy="533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1844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317D106-59AB-D611-4449-1C3B663386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947" y="641368"/>
            <a:ext cx="6516043" cy="873056"/>
          </a:xfrm>
        </p:spPr>
        <p:txBody>
          <a:bodyPr wrap="square" anchor="b">
            <a:normAutofit/>
          </a:bodyPr>
          <a:lstStyle/>
          <a:p>
            <a:r>
              <a:rPr lang="nn-NO" noProof="1"/>
              <a:t>Velkommen til ein kikk inn i Livabygget </a:t>
            </a:r>
            <a:endParaRPr lang="nn-NO" noProof="1">
              <a:cs typeface="Calibri"/>
            </a:endParaRP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1E9D7C4A-07CA-8A32-03E8-1B9CDE4185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189" y="2069682"/>
            <a:ext cx="4701513" cy="3135415"/>
          </a:xfrm>
        </p:spPr>
        <p:txBody>
          <a:bodyPr vert="horz" lIns="0" tIns="0" rIns="0" bIns="0" rtlCol="0" anchor="t">
            <a:normAutofit/>
          </a:bodyPr>
          <a:lstStyle/>
          <a:p>
            <a:pPr marL="0" indent="0">
              <a:buNone/>
            </a:pPr>
            <a:r>
              <a:rPr lang="en-US" dirty="0" err="1">
                <a:ea typeface="Calibri"/>
                <a:cs typeface="Calibri"/>
              </a:rPr>
              <a:t>Einerom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i</a:t>
            </a:r>
            <a:r>
              <a:rPr lang="en-US" dirty="0">
                <a:ea typeface="Calibri"/>
                <a:cs typeface="Calibri"/>
              </a:rPr>
              <a:t> </a:t>
            </a:r>
            <a:r>
              <a:rPr lang="en-US" dirty="0" err="1">
                <a:ea typeface="Calibri"/>
                <a:cs typeface="Calibri"/>
              </a:rPr>
              <a:t>LIVA-bygget</a:t>
            </a:r>
            <a:endParaRPr lang="en-US" dirty="0">
              <a:ea typeface="Calibri"/>
              <a:cs typeface="Calibri"/>
            </a:endParaRPr>
          </a:p>
          <a:p>
            <a:pPr marL="0" indent="0">
              <a:buNone/>
            </a:pPr>
            <a:endParaRPr lang="en-US" dirty="0">
              <a:ea typeface="Calibri"/>
              <a:cs typeface="Calibri"/>
            </a:endParaRPr>
          </a:p>
          <a:p>
            <a:pPr marL="0" indent="0">
              <a:buNone/>
            </a:pPr>
            <a:endParaRPr lang="en-US" dirty="0">
              <a:ea typeface="Calibri"/>
              <a:cs typeface="Calibri"/>
            </a:endParaRPr>
          </a:p>
          <a:p>
            <a:pPr marL="0" indent="0">
              <a:buNone/>
            </a:pPr>
            <a:endParaRPr lang="en-US" sz="1100" dirty="0">
              <a:ea typeface="Calibri"/>
              <a:cs typeface="Calibri"/>
            </a:endParaRPr>
          </a:p>
          <a:p>
            <a:pPr marL="0" indent="0">
              <a:buNone/>
            </a:pPr>
            <a:endParaRPr lang="en-US" dirty="0">
              <a:ea typeface="Calibri"/>
              <a:cs typeface="Calibri"/>
            </a:endParaRP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E0F1AF5B-612F-81A7-7D78-7FCD55AE6A8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/>
          <a:srcRect t="1101" b="1101"/>
          <a:stretch/>
        </p:blipFill>
        <p:spPr>
          <a:xfrm>
            <a:off x="5668328" y="2154872"/>
            <a:ext cx="5053012" cy="3714751"/>
          </a:xfrm>
        </p:spPr>
      </p:pic>
    </p:spTree>
    <p:extLst>
      <p:ext uri="{BB962C8B-B14F-4D97-AF65-F5344CB8AC3E}">
        <p14:creationId xmlns:p14="http://schemas.microsoft.com/office/powerpoint/2010/main" val="22975205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2CABC25-CE0B-E75B-441E-026FFB4663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4564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6" progId="TCLayout.ActiveDocument.1">
                  <p:embed/>
                </p:oleObj>
              </mc:Choice>
              <mc:Fallback>
                <p:oleObj name="think-cell Slide" r:id="rId3" imgW="443" imgH="44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CABC25-CE0B-E75B-441E-026FFB466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01C9F022-DE6E-B18B-7B3D-43777EDB26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b-NO" dirty="0"/>
              <a:t>Omstilling </a:t>
            </a:r>
            <a:r>
              <a:rPr lang="nb-NO" dirty="0" err="1"/>
              <a:t>utfordrar</a:t>
            </a:r>
            <a:r>
              <a:rPr lang="nb-NO" dirty="0"/>
              <a:t> organisasjonen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A96E2C3-79E4-1CDD-0A85-2D3E4E3E45C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491407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2135188" y="188913"/>
            <a:ext cx="7847012" cy="1008062"/>
          </a:xfrm>
        </p:spPr>
        <p:txBody>
          <a:bodyPr rtlCol="0">
            <a:normAutofit fontScale="90000"/>
          </a:bodyPr>
          <a:lstStyle/>
          <a:p>
            <a:pPr algn="ctr">
              <a:defRPr/>
            </a:pPr>
            <a:br>
              <a:rPr lang="nn-NO" altLang="nb-NO" sz="2400"/>
            </a:br>
            <a:r>
              <a:rPr lang="nn-NO" altLang="nb-NO" sz="3200">
                <a:solidFill>
                  <a:srgbClr val="C00000"/>
                </a:solidFill>
              </a:rPr>
              <a:t>”</a:t>
            </a:r>
            <a:r>
              <a:rPr lang="nn-NO" altLang="nb-NO" sz="3200">
                <a:solidFill>
                  <a:srgbClr val="990033"/>
                </a:solidFill>
                <a:latin typeface="Bell MT" panose="02020503060305020303" pitchFamily="18" charset="0"/>
              </a:rPr>
              <a:t>Når </a:t>
            </a:r>
            <a:r>
              <a:rPr lang="nb-NO" altLang="nb-NO" sz="3200">
                <a:solidFill>
                  <a:srgbClr val="990033"/>
                </a:solidFill>
                <a:latin typeface="Bell MT" panose="02020503060305020303" pitchFamily="18" charset="0"/>
              </a:rPr>
              <a:t>forandringens</a:t>
            </a:r>
            <a:r>
              <a:rPr lang="nn-NO" altLang="nb-NO" sz="3200">
                <a:solidFill>
                  <a:srgbClr val="990033"/>
                </a:solidFill>
                <a:latin typeface="Bell MT" panose="02020503060305020303" pitchFamily="18" charset="0"/>
              </a:rPr>
              <a:t> vind blåser bygger noen vindmøller mens andre kryper i skjul”</a:t>
            </a:r>
            <a:endParaRPr lang="nn-NO" altLang="nb-NO" sz="3200"/>
          </a:p>
        </p:txBody>
      </p:sp>
      <p:sp>
        <p:nvSpPr>
          <p:cNvPr id="17411" name="Rectangle 3"/>
          <p:cNvSpPr>
            <a:spLocks noGrp="1" noChangeArrowheads="1"/>
          </p:cNvSpPr>
          <p:nvPr>
            <p:ph idx="1"/>
          </p:nvPr>
        </p:nvSpPr>
        <p:spPr>
          <a:xfrm>
            <a:off x="1703388" y="1484314"/>
            <a:ext cx="8642350" cy="5106987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None/>
            </a:pPr>
            <a:endParaRPr lang="nn-NO" altLang="nb-NO" sz="1200">
              <a:solidFill>
                <a:schemeClr val="accent2"/>
              </a:solidFill>
            </a:endParaRPr>
          </a:p>
        </p:txBody>
      </p:sp>
      <p:pic>
        <p:nvPicPr>
          <p:cNvPr id="17412" name="Picture 3" descr="1256646495000_105404-vindm_ller__2882481708x708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39292">
            <a:off x="2611438" y="1635126"/>
            <a:ext cx="6743700" cy="446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1084217" y="1084807"/>
            <a:ext cx="8021638" cy="4688386"/>
          </a:xfrm>
        </p:spPr>
        <p:txBody>
          <a:bodyPr rtlCol="0"/>
          <a:lstStyle/>
          <a:p>
            <a:pPr>
              <a:defRPr/>
            </a:pPr>
            <a:endParaRPr lang="nb-NO"/>
          </a:p>
          <a:p>
            <a:pPr>
              <a:defRPr/>
            </a:pPr>
            <a:endParaRPr lang="nb-NO" sz="1100"/>
          </a:p>
          <a:p>
            <a:pPr>
              <a:defRPr/>
            </a:pPr>
            <a:endParaRPr lang="nb-NO" sz="1100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b-NO" sz="1800"/>
              <a:t>Læring og </a:t>
            </a:r>
            <a:r>
              <a:rPr lang="nb-NO" sz="1800" err="1"/>
              <a:t>personleg</a:t>
            </a:r>
            <a:r>
              <a:rPr lang="nb-NO" sz="1800"/>
              <a:t> utvikling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b-NO" sz="1800" err="1"/>
              <a:t>Meir</a:t>
            </a:r>
            <a:r>
              <a:rPr lang="nb-NO" sz="1800"/>
              <a:t> interessant arbeid?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b-NO" sz="1800"/>
              <a:t>Vere med å </a:t>
            </a:r>
            <a:r>
              <a:rPr lang="nb-NO" sz="1800" err="1"/>
              <a:t>påverke</a:t>
            </a:r>
            <a:r>
              <a:rPr lang="nb-NO" sz="1800"/>
              <a:t> framtida</a:t>
            </a:r>
          </a:p>
          <a:p>
            <a:pPr>
              <a:defRPr/>
            </a:pPr>
            <a:endParaRPr lang="nb-NO" sz="1100"/>
          </a:p>
          <a:p>
            <a:pPr>
              <a:defRPr/>
            </a:pPr>
            <a:endParaRPr lang="nb-NO" sz="1100"/>
          </a:p>
          <a:p>
            <a:pPr>
              <a:defRPr/>
            </a:pPr>
            <a:endParaRPr lang="nb-NO" sz="1100"/>
          </a:p>
          <a:p>
            <a:pPr>
              <a:defRPr/>
            </a:pPr>
            <a:endParaRPr lang="nb-NO" sz="1100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b-NO" sz="1800"/>
              <a:t>Utryggleik og uro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b-NO" sz="1800" err="1"/>
              <a:t>Konfliktar</a:t>
            </a:r>
            <a:r>
              <a:rPr lang="nb-NO" sz="1800"/>
              <a:t>, </a:t>
            </a:r>
            <a:r>
              <a:rPr lang="nb-NO" sz="1800" err="1"/>
              <a:t>spekulasjonar</a:t>
            </a:r>
            <a:r>
              <a:rPr lang="nb-NO" sz="1800"/>
              <a:t> og ryktespreiing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nb-NO" sz="1800" err="1"/>
              <a:t>Auka</a:t>
            </a:r>
            <a:r>
              <a:rPr lang="nb-NO" sz="1800"/>
              <a:t> stress i </a:t>
            </a:r>
            <a:r>
              <a:rPr lang="nb-NO" sz="1800" err="1"/>
              <a:t>kvardagen</a:t>
            </a:r>
            <a:endParaRPr lang="nb-NO" sz="1800"/>
          </a:p>
          <a:p>
            <a:pPr>
              <a:defRPr/>
            </a:pPr>
            <a:endParaRPr lang="nb-NO" sz="1100"/>
          </a:p>
          <a:p>
            <a:pPr>
              <a:defRPr/>
            </a:pPr>
            <a:endParaRPr lang="nb-NO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nb-NO"/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nb-NO"/>
          </a:p>
          <a:p>
            <a:pPr>
              <a:defRPr/>
            </a:pPr>
            <a:endParaRPr lang="nb-NO"/>
          </a:p>
        </p:txBody>
      </p:sp>
      <p:sp>
        <p:nvSpPr>
          <p:cNvPr id="19459" name="Tittel 2"/>
          <p:cNvSpPr>
            <a:spLocks noGrp="1"/>
          </p:cNvSpPr>
          <p:nvPr>
            <p:ph type="ctrTitle"/>
          </p:nvPr>
        </p:nvSpPr>
        <p:spPr>
          <a:xfrm>
            <a:off x="3216276" y="692151"/>
            <a:ext cx="6551613" cy="346249"/>
          </a:xfrm>
        </p:spPr>
        <p:txBody>
          <a:bodyPr/>
          <a:lstStyle/>
          <a:p>
            <a:pPr eaLnBrk="1" hangingPunct="1"/>
            <a:r>
              <a:rPr lang="nb-NO" altLang="nb-NO" sz="28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vt eller negativt?</a:t>
            </a:r>
          </a:p>
        </p:txBody>
      </p:sp>
      <p:pic>
        <p:nvPicPr>
          <p:cNvPr id="19460" name="Bilde 3" descr="Smiley - Wikipedia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413" y="1181894"/>
            <a:ext cx="80962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1" name="Bilde 4" descr="Emoticon Sad Yellow - Free image on Pixabay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8226" y="3269938"/>
            <a:ext cx="908050" cy="908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836747"/>
          </a:xfrm>
        </p:spPr>
        <p:txBody>
          <a:bodyPr/>
          <a:lstStyle/>
          <a:p>
            <a:r>
              <a:rPr lang="nn-NO"/>
              <a:t>Kvifor har vi eit sjukehusprosjekt i Førde?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457200" indent="-457200"/>
            <a:r>
              <a:rPr lang="nn-NO"/>
              <a:t>Eksisterande sjukehus er oppført 1979 og påbygd fleire gonger, men hovudbygg i store trekk originalt frå byggeår.</a:t>
            </a:r>
            <a:br>
              <a:rPr lang="nn-NO"/>
            </a:br>
            <a:endParaRPr lang="nn-NO"/>
          </a:p>
          <a:p>
            <a:pPr marL="457200" indent="-457200"/>
            <a:r>
              <a:rPr lang="nn-NO"/>
              <a:t>Behov for modernisering og utviding,</a:t>
            </a:r>
            <a:br>
              <a:rPr lang="nn-NO"/>
            </a:br>
            <a:r>
              <a:rPr lang="nn-NO"/>
              <a:t>særleg innan psykisk helsevern og operasjon</a:t>
            </a:r>
          </a:p>
          <a:p>
            <a:pPr marL="457200" indent="-457200"/>
            <a:endParaRPr lang="nn-NO"/>
          </a:p>
          <a:p>
            <a:pPr marL="457200" indent="-457200"/>
            <a:r>
              <a:rPr lang="nn-NO"/>
              <a:t>Prosjektet var del av ein samla plan for utvikling av heile helseføretaket</a:t>
            </a:r>
          </a:p>
          <a:p>
            <a:pPr marL="457200" indent="-457200"/>
            <a:endParaRPr lang="nn-NO"/>
          </a:p>
          <a:p>
            <a:pPr marL="457200" indent="-457200"/>
            <a:r>
              <a:rPr lang="nn-NO"/>
              <a:t>Arbeidet for å få på plass eit prosjekt starta i 2012</a:t>
            </a:r>
          </a:p>
          <a:p>
            <a:pPr marL="0" indent="0">
              <a:buNone/>
            </a:pPr>
            <a:endParaRPr lang="nn-NO"/>
          </a:p>
          <a:p>
            <a:endParaRPr lang="nn-NO"/>
          </a:p>
        </p:txBody>
      </p:sp>
      <p:pic>
        <p:nvPicPr>
          <p:cNvPr id="6" name="Plassholder for innhold 5"/>
          <p:cNvPicPr>
            <a:picLocks noGrp="1" noChangeAspect="1"/>
          </p:cNvPicPr>
          <p:nvPr>
            <p:ph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6179" y="2413000"/>
            <a:ext cx="4807629" cy="364966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408245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96925" y="365274"/>
            <a:ext cx="8763000" cy="881636"/>
          </a:xfrm>
        </p:spPr>
        <p:txBody>
          <a:bodyPr/>
          <a:lstStyle/>
          <a:p>
            <a:r>
              <a:rPr lang="nn-NO"/>
              <a:t>Oversikt over sjukehusområdet</a:t>
            </a:r>
          </a:p>
        </p:txBody>
      </p:sp>
      <p:pic>
        <p:nvPicPr>
          <p:cNvPr id="6" name="Plassholder for innhold 5"/>
          <p:cNvPicPr>
            <a:picLocks noGrp="1"/>
          </p:cNvPicPr>
          <p:nvPr>
            <p:ph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67" b="5813"/>
          <a:stretch/>
        </p:blipFill>
        <p:spPr bwMode="auto">
          <a:xfrm>
            <a:off x="6075848" y="1783459"/>
            <a:ext cx="5924707" cy="491206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796925" y="2047955"/>
            <a:ext cx="5097462" cy="401471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n-NO"/>
              <a:t>Ny og gammal bygningsmasse</a:t>
            </a:r>
          </a:p>
          <a:p>
            <a:pPr lvl="2"/>
            <a:r>
              <a:rPr lang="nn-NO"/>
              <a:t>Før utbygging ca 40 000 m2</a:t>
            </a:r>
          </a:p>
          <a:p>
            <a:pPr lvl="2"/>
            <a:r>
              <a:rPr lang="nn-NO"/>
              <a:t>NFS inneheld ca 20 000 m2 nybygg</a:t>
            </a:r>
          </a:p>
          <a:p>
            <a:pPr lvl="2"/>
            <a:r>
              <a:rPr lang="nn-NO"/>
              <a:t>Ombygging av eksisterande bygg</a:t>
            </a:r>
          </a:p>
          <a:p>
            <a:pPr lvl="2"/>
            <a:endParaRPr lang="nn-NO"/>
          </a:p>
          <a:p>
            <a:endParaRPr lang="nn-NO"/>
          </a:p>
          <a:p>
            <a:r>
              <a:rPr lang="nn-NO"/>
              <a:t>Namnsetting av bygg</a:t>
            </a:r>
          </a:p>
          <a:p>
            <a:pPr lvl="2"/>
            <a:r>
              <a:rPr lang="nn-NO"/>
              <a:t>blitt teken i bruk både i prosjektet og i Helse Førde sin driftsorganisasjon</a:t>
            </a:r>
          </a:p>
        </p:txBody>
      </p:sp>
    </p:spTree>
    <p:extLst>
      <p:ext uri="{BB962C8B-B14F-4D97-AF65-F5344CB8AC3E}">
        <p14:creationId xmlns:p14="http://schemas.microsoft.com/office/powerpoint/2010/main" val="4211221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96924" y="440843"/>
            <a:ext cx="8763000" cy="1169551"/>
          </a:xfrm>
        </p:spPr>
        <p:txBody>
          <a:bodyPr/>
          <a:lstStyle/>
          <a:p>
            <a:pPr lvl="0" rtl="0" eaLnBrk="1" latinLnBrk="0" hangingPunct="1"/>
            <a:r>
              <a:rPr lang="nn-NO" sz="4500" kern="1200">
                <a:solidFill>
                  <a:schemeClr val="dk2"/>
                </a:solidFill>
                <a:latin typeface="+mj-lt"/>
                <a:ea typeface="+mj-ea"/>
                <a:cs typeface="+mj-cs"/>
              </a:rPr>
              <a:t>Prosjektet har ei lang tidslinje</a:t>
            </a:r>
            <a:endParaRPr lang="nn-NO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48683" y="2313333"/>
            <a:ext cx="10601349" cy="4004339"/>
          </a:xfrm>
        </p:spPr>
      </p:pic>
    </p:spTree>
    <p:extLst>
      <p:ext uri="{BB962C8B-B14F-4D97-AF65-F5344CB8AC3E}">
        <p14:creationId xmlns:p14="http://schemas.microsoft.com/office/powerpoint/2010/main" val="11117568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5207" y="341933"/>
            <a:ext cx="8956675" cy="1169551"/>
          </a:xfrm>
        </p:spPr>
        <p:txBody>
          <a:bodyPr/>
          <a:lstStyle/>
          <a:p>
            <a:r>
              <a:rPr lang="nn-NO" sz="4500" kern="1200" err="1">
                <a:latin typeface="+mj-lt"/>
                <a:ea typeface="+mj-ea"/>
                <a:cs typeface="+mj-cs"/>
              </a:rPr>
              <a:t>Livabygget</a:t>
            </a:r>
            <a:r>
              <a:rPr lang="nn-NO" sz="4500" kern="1200">
                <a:latin typeface="+mj-lt"/>
                <a:ea typeface="+mj-ea"/>
                <a:cs typeface="+mj-cs"/>
              </a:rPr>
              <a:t>, innflytting </a:t>
            </a:r>
            <a:r>
              <a:rPr lang="nn-NO" sz="4500"/>
              <a:t>hausten </a:t>
            </a:r>
            <a:r>
              <a:rPr lang="nn-NO" sz="4500" kern="1200">
                <a:latin typeface="+mj-lt"/>
                <a:ea typeface="+mj-ea"/>
                <a:cs typeface="+mj-cs"/>
              </a:rPr>
              <a:t>2024</a:t>
            </a:r>
            <a:endParaRPr lang="nn-NO"/>
          </a:p>
        </p:txBody>
      </p:sp>
      <p:sp>
        <p:nvSpPr>
          <p:cNvPr id="4" name="Plassholder for innhold 3"/>
          <p:cNvSpPr>
            <a:spLocks noGrp="1"/>
          </p:cNvSpPr>
          <p:nvPr>
            <p:ph idx="1"/>
          </p:nvPr>
        </p:nvSpPr>
        <p:spPr>
          <a:xfrm>
            <a:off x="671420" y="1979531"/>
            <a:ext cx="4420534" cy="4061480"/>
          </a:xfrm>
        </p:spPr>
        <p:txBody>
          <a:bodyPr>
            <a:normAutofit fontScale="92500" lnSpcReduction="10000"/>
          </a:bodyPr>
          <a:lstStyle/>
          <a:p>
            <a:r>
              <a:rPr lang="nn-NO" sz="2000" b="1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Livabygget har 9 etasjer, </a:t>
            </a:r>
            <a:br>
              <a:rPr lang="nn-NO" sz="2000" b="1" noProof="1">
                <a:latin typeface="Calibri"/>
                <a:ea typeface="Segoe UI"/>
                <a:cs typeface="Segoe UI"/>
              </a:rPr>
            </a:br>
            <a:r>
              <a:rPr lang="nn-NO" sz="2000" b="1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og arealet er om lag 13 000 m2</a:t>
            </a:r>
            <a:r>
              <a:rPr lang="nn-NO" sz="12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​</a:t>
            </a:r>
          </a:p>
          <a:p>
            <a:pPr marL="0" indent="0" rtl="0">
              <a:buNone/>
            </a:pPr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​</a:t>
            </a:r>
          </a:p>
          <a:p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Det blir 123 sengerom, </a:t>
            </a:r>
            <a:br>
              <a:rPr lang="nn-NO" sz="2000" noProof="1">
                <a:latin typeface="Calibri"/>
                <a:ea typeface="Segoe UI"/>
                <a:cs typeface="Segoe UI"/>
              </a:rPr>
            </a:br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107 med pårørandeseng​</a:t>
            </a:r>
            <a:br>
              <a:rPr lang="nn-NO" sz="2000" noProof="1">
                <a:latin typeface="Calibri"/>
                <a:ea typeface="Segoe UI"/>
                <a:cs typeface="Segoe UI"/>
              </a:rPr>
            </a:br>
            <a:endParaRPr lang="nn-NO" sz="2000" noProof="1">
              <a:solidFill>
                <a:srgbClr val="333333"/>
              </a:solidFill>
              <a:latin typeface="Calibri"/>
              <a:ea typeface="Segoe UI"/>
              <a:cs typeface="Segoe UI"/>
            </a:endParaRPr>
          </a:p>
          <a:p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3 fødestover</a:t>
            </a:r>
          </a:p>
          <a:p>
            <a:endParaRPr lang="nn-NO" sz="2000" noProof="1">
              <a:solidFill>
                <a:srgbClr val="333333"/>
              </a:solidFill>
              <a:latin typeface="Calibri"/>
              <a:ea typeface="Segoe UI"/>
              <a:cs typeface="Segoe UI"/>
            </a:endParaRPr>
          </a:p>
          <a:p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10 operasjonsstover​</a:t>
            </a:r>
            <a:br>
              <a:rPr lang="nn-NO" sz="2000" noProof="1">
                <a:latin typeface="Calibri"/>
                <a:ea typeface="Segoe UI"/>
                <a:cs typeface="Segoe UI"/>
              </a:rPr>
            </a:br>
            <a:endParaRPr lang="nn-NO" sz="2000" noProof="1">
              <a:solidFill>
                <a:srgbClr val="333333"/>
              </a:solidFill>
              <a:latin typeface="Calibri"/>
              <a:ea typeface="Segoe UI"/>
              <a:cs typeface="Segoe UI"/>
            </a:endParaRPr>
          </a:p>
          <a:p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Ny sterilsentral​</a:t>
            </a:r>
            <a:br>
              <a:rPr lang="nn-NO" sz="2000" noProof="1">
                <a:latin typeface="Calibri"/>
                <a:ea typeface="Segoe UI"/>
                <a:cs typeface="Segoe UI"/>
              </a:rPr>
            </a:br>
            <a:endParaRPr lang="nn-NO" sz="2000" noProof="1">
              <a:solidFill>
                <a:srgbClr val="333333"/>
              </a:solidFill>
              <a:latin typeface="Calibri"/>
              <a:ea typeface="Segoe UI"/>
              <a:cs typeface="Segoe UI"/>
            </a:endParaRPr>
          </a:p>
          <a:p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10 avanserte poliklinikkrom ​</a:t>
            </a:r>
            <a:br>
              <a:rPr lang="nn-NO" sz="2000" noProof="1">
                <a:latin typeface="Calibri"/>
                <a:ea typeface="Segoe UI"/>
                <a:cs typeface="Segoe UI"/>
              </a:rPr>
            </a:br>
            <a:endParaRPr lang="nn-NO" sz="2000" noProof="1">
              <a:solidFill>
                <a:srgbClr val="333333"/>
              </a:solidFill>
              <a:latin typeface="Calibri"/>
              <a:ea typeface="Segoe UI"/>
              <a:cs typeface="Segoe UI"/>
            </a:endParaRPr>
          </a:p>
          <a:p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Ny dagkirurgi </a:t>
            </a:r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Calibri"/>
              </a:rPr>
              <a:t>2. etasje i </a:t>
            </a:r>
            <a:r>
              <a:rPr lang="nn-NO" sz="2000" noProof="1">
                <a:solidFill>
                  <a:srgbClr val="333333"/>
                </a:solidFill>
                <a:latin typeface="Calibri"/>
                <a:ea typeface="Segoe UI"/>
                <a:cs typeface="Segoe UI"/>
              </a:rPr>
              <a:t>Svanabygget </a:t>
            </a:r>
            <a:endParaRPr lang="nn-NO"/>
          </a:p>
        </p:txBody>
      </p:sp>
      <p:pic>
        <p:nvPicPr>
          <p:cNvPr id="6" name="Plassholder for innhold 5"/>
          <p:cNvPicPr>
            <a:picLocks noGrp="1" noChangeAspect="1"/>
          </p:cNvPicPr>
          <p:nvPr>
            <p:ph idx="13"/>
          </p:nvPr>
        </p:nvPicPr>
        <p:blipFill>
          <a:blip r:embed="rId2"/>
          <a:stretch>
            <a:fillRect/>
          </a:stretch>
        </p:blipFill>
        <p:spPr>
          <a:xfrm>
            <a:off x="5367190" y="1981273"/>
            <a:ext cx="6382328" cy="406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224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ADA3CA-7613-E1CD-8C0A-DEDD18D4B7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2222499"/>
            <a:ext cx="4006182" cy="3840163"/>
          </a:xfrm>
        </p:spPr>
        <p:txBody>
          <a:bodyPr/>
          <a:lstStyle/>
          <a:p>
            <a:r>
              <a:rPr lang="en-US" sz="3100" noProof="1">
                <a:latin typeface="Calibri Light"/>
                <a:cs typeface="Calibri Light"/>
              </a:rPr>
              <a:t>Slik blir etasjefordelinga i Livabygget, 123 senger </a:t>
            </a:r>
            <a:endParaRPr lang="en-US" noProof="1">
              <a:cs typeface="Calibri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365561E-F639-4B73-2073-29B5A604A4A3}"/>
              </a:ext>
            </a:extLst>
          </p:cNvPr>
          <p:cNvGraphicFramePr>
            <a:graphicFrameLocks noGrp="1"/>
          </p:cNvGraphicFramePr>
          <p:nvPr/>
        </p:nvGraphicFramePr>
        <p:xfrm>
          <a:off x="4799724" y="683172"/>
          <a:ext cx="6450722" cy="5750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4586">
                  <a:extLst>
                    <a:ext uri="{9D8B030D-6E8A-4147-A177-3AD203B41FA5}">
                      <a16:colId xmlns:a16="http://schemas.microsoft.com/office/drawing/2014/main" val="494749933"/>
                    </a:ext>
                  </a:extLst>
                </a:gridCol>
                <a:gridCol w="3737740">
                  <a:extLst>
                    <a:ext uri="{9D8B030D-6E8A-4147-A177-3AD203B41FA5}">
                      <a16:colId xmlns:a16="http://schemas.microsoft.com/office/drawing/2014/main" val="4174855406"/>
                    </a:ext>
                  </a:extLst>
                </a:gridCol>
                <a:gridCol w="1228396">
                  <a:extLst>
                    <a:ext uri="{9D8B030D-6E8A-4147-A177-3AD203B41FA5}">
                      <a16:colId xmlns:a16="http://schemas.microsoft.com/office/drawing/2014/main" val="328524313"/>
                    </a:ext>
                  </a:extLst>
                </a:gridCol>
              </a:tblGrid>
              <a:tr h="78827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1" i="0" noProof="1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Etasje ​</a:t>
                      </a:r>
                      <a:endParaRPr lang="en-US" b="1" i="0" noProof="1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1" i="0" noProof="1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Avdeling ​</a:t>
                      </a:r>
                      <a:endParaRPr lang="en-US" b="1" i="0" noProof="1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1" i="0" noProof="1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Senger​</a:t>
                      </a:r>
                      <a:endParaRPr lang="en-US" b="1" i="0" noProof="1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3879945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 etasje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edisin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409289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. etasje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topedi og geriatri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3635419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 etasje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reft og kirurgi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3832164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. etasje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K, føde/barsel, barn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8996889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 etasje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vrologi og rehabilitering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147046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. etasje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knisk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117588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 etasje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erasjon, 10 operasjonsstover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6764980"/>
                  </a:ext>
                </a:extLst>
              </a:tr>
              <a:tr h="484441">
                <a:tc>
                  <a:txBody>
                    <a:bodyPr/>
                    <a:lstStyle/>
                    <a:p>
                      <a:pPr marL="342900" lvl="0" indent="-342900" algn="l" rtl="0" fontAlgn="base">
                        <a:buFont typeface="+mj-lt"/>
                        <a:buAutoNum type="arabicPeriod"/>
                      </a:pPr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tasje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rilsentral, skopi og spesialrom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2828987"/>
                  </a:ext>
                </a:extLst>
              </a:tr>
              <a:tr h="1086717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. etasje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arderobe, sentrallager, varemottak, korridor til Dagabygget  ​</a:t>
                      </a:r>
                      <a:endParaRPr lang="en-US" b="0" i="0" noProof="1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auto"/>
                      <a:r>
                        <a:rPr lang="en-US" sz="2000" b="0" i="0" noProof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​</a:t>
                      </a:r>
                    </a:p>
                  </a:txBody>
                  <a:tcPr>
                    <a:lnL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059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49484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97323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 2"/>
          <p:cNvGraphicFramePr>
            <a:graphicFrameLocks noGrp="1"/>
          </p:cNvGraphicFramePr>
          <p:nvPr/>
        </p:nvGraphicFramePr>
        <p:xfrm>
          <a:off x="157019" y="1023842"/>
          <a:ext cx="5652655" cy="57190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2656">
                  <a:extLst>
                    <a:ext uri="{9D8B030D-6E8A-4147-A177-3AD203B41FA5}">
                      <a16:colId xmlns:a16="http://schemas.microsoft.com/office/drawing/2014/main" val="4134762231"/>
                    </a:ext>
                  </a:extLst>
                </a:gridCol>
                <a:gridCol w="2024476">
                  <a:extLst>
                    <a:ext uri="{9D8B030D-6E8A-4147-A177-3AD203B41FA5}">
                      <a16:colId xmlns:a16="http://schemas.microsoft.com/office/drawing/2014/main" val="102367055"/>
                    </a:ext>
                  </a:extLst>
                </a:gridCol>
                <a:gridCol w="162770">
                  <a:extLst>
                    <a:ext uri="{9D8B030D-6E8A-4147-A177-3AD203B41FA5}">
                      <a16:colId xmlns:a16="http://schemas.microsoft.com/office/drawing/2014/main" val="541628345"/>
                    </a:ext>
                  </a:extLst>
                </a:gridCol>
                <a:gridCol w="1922936">
                  <a:extLst>
                    <a:ext uri="{9D8B030D-6E8A-4147-A177-3AD203B41FA5}">
                      <a16:colId xmlns:a16="http://schemas.microsoft.com/office/drawing/2014/main" val="210954618"/>
                    </a:ext>
                  </a:extLst>
                </a:gridCol>
                <a:gridCol w="969817">
                  <a:extLst>
                    <a:ext uri="{9D8B030D-6E8A-4147-A177-3AD203B41FA5}">
                      <a16:colId xmlns:a16="http://schemas.microsoft.com/office/drawing/2014/main" val="2920310922"/>
                    </a:ext>
                  </a:extLst>
                </a:gridCol>
              </a:tblGrid>
              <a:tr h="609859">
                <a:tc>
                  <a:txBody>
                    <a:bodyPr/>
                    <a:lstStyle/>
                    <a:p>
                      <a:pPr algn="ctr"/>
                      <a:r>
                        <a:rPr lang="nb-NO" sz="1000"/>
                        <a:t>Etasj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1000"/>
                        <a:t>Sengepost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nb-NO" sz="1000"/>
                        <a:t>Fagområd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/>
                      <a:endParaRPr lang="nb-NO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err="1"/>
                        <a:t>Sengetal</a:t>
                      </a:r>
                      <a:endParaRPr lang="nb-NO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1617693"/>
                  </a:ext>
                </a:extLst>
              </a:tr>
              <a:tr h="501724">
                <a:tc>
                  <a:txBody>
                    <a:bodyPr/>
                    <a:lstStyle/>
                    <a:p>
                      <a:pPr marL="0" indent="0" algn="ctr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8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kumimoji="0" lang="nb-NO" sz="1100" b="1" i="0" u="none" strike="noStrike" kern="1200" cap="none" spc="0" normalizeH="0" baseline="0" noProof="1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disin</a:t>
                      </a:r>
                      <a:r>
                        <a:rPr lang="nb-NO" sz="1100" b="1" i="0" u="none" strike="noStrike" kern="1200" cap="none" spc="0" normalizeH="0" baseline="0" noProof="1">
                          <a:ln>
                            <a:noFill/>
                          </a:ln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nb-NO" sz="1800" noProof="1"/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Medisin</a:t>
                      </a: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0" algn="ctr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63424334"/>
                  </a:ext>
                </a:extLst>
              </a:tr>
              <a:tr h="227336">
                <a:tc>
                  <a:txBody>
                    <a:bodyPr/>
                    <a:lstStyle/>
                    <a:p>
                      <a:pPr marL="0" indent="0" algn="ctr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7.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7619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rtopedi og geriatri</a:t>
                      </a: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rtopedi, Ortogeriatri, Geriatri </a:t>
                      </a: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0" marR="0" lvl="0" indent="0" algn="l" defTabSz="7619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19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26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59215428"/>
                  </a:ext>
                </a:extLst>
              </a:tr>
              <a:tr h="415069">
                <a:tc>
                  <a:txBody>
                    <a:bodyPr/>
                    <a:lstStyle/>
                    <a:p>
                      <a:pPr marL="0" indent="0" algn="ctr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6. </a:t>
                      </a: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1100" b="1" i="0" u="none" strike="noStrike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</a:rPr>
                        <a:t>Kreft og kirurgi</a:t>
                      </a:r>
                      <a:endParaRPr lang="en-US"/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76197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reft og kirurgi</a:t>
                      </a:r>
                      <a:endParaRPr lang="en-US"/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19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 b="1" i="0" u="none" strike="noStrike" kern="1200" cap="none" spc="0" normalizeH="0" baseline="0" noProof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26</a:t>
                      </a:r>
                      <a:endParaRPr kumimoji="0" lang="nb-NO" sz="1100" b="1" i="0" u="none" strike="noStrike" kern="1200" cap="none" spc="0" normalizeH="0" baseline="0" noProof="1">
                        <a:ln>
                          <a:noFill/>
                        </a:ln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871893"/>
                  </a:ext>
                </a:extLst>
              </a:tr>
              <a:tr h="535865">
                <a:tc>
                  <a:txBody>
                    <a:bodyPr/>
                    <a:lstStyle/>
                    <a:p>
                      <a:pPr marL="0" indent="0" algn="ctr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5.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/>
                      <a:r>
                        <a:rPr lang="nb-NO" sz="1100" b="1" noProof="1"/>
                        <a:t>KK, Føde</a:t>
                      </a:r>
                      <a:r>
                        <a:rPr lang="nb-NO" sz="1100" b="1" baseline="0" noProof="1"/>
                        <a:t>/barsel</a:t>
                      </a:r>
                    </a:p>
                    <a:p>
                      <a:pPr algn="l"/>
                      <a:r>
                        <a:rPr lang="nb-NO" sz="1100" b="1" baseline="0" noProof="1"/>
                        <a:t>Barneavdelinga</a:t>
                      </a:r>
                    </a:p>
                    <a:p>
                      <a:pPr algn="l"/>
                      <a:r>
                        <a:rPr lang="nb-NO" sz="1100" b="1" baseline="0" noProof="1"/>
                        <a:t>Poliklinikk barn og unge</a:t>
                      </a:r>
                      <a:endParaRPr lang="nb-NO" sz="1100" b="1" noProof="1"/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marL="0" marR="0" lvl="0" indent="0" algn="l" defTabSz="7619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b="1" noProof="1"/>
                        <a:t>KK og Barn</a:t>
                      </a:r>
                    </a:p>
                    <a:p>
                      <a:pPr algn="l"/>
                      <a:endParaRPr lang="nb-NO" sz="1100" noProof="1"/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l"/>
                      <a:endParaRPr lang="nb-NO" sz="1100" noProof="1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nn-NO" sz="180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59491109"/>
                  </a:ext>
                </a:extLst>
              </a:tr>
              <a:tr h="617054">
                <a:tc>
                  <a:txBody>
                    <a:bodyPr/>
                    <a:lstStyle/>
                    <a:p>
                      <a:pPr marL="0" indent="0" algn="ctr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. </a:t>
                      </a: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1100" b="1" i="0" u="none" strike="noStrike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</a:rPr>
                        <a:t>Nevro og Rehab</a:t>
                      </a:r>
                      <a:endParaRPr lang="en-US" sz="1100" b="0" i="0" u="none" strike="noStrike" kern="1200" noProof="1">
                        <a:solidFill>
                          <a:srgbClr val="262626"/>
                        </a:solidFill>
                        <a:latin typeface="Calibri"/>
                      </a:endParaRPr>
                    </a:p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nb-NO" sz="1100" b="0" i="0" u="none" strike="noStrike" kern="1200" noProof="1">
                        <a:solidFill>
                          <a:srgbClr val="262626"/>
                        </a:solidFill>
                        <a:latin typeface="Calibri"/>
                      </a:endParaRPr>
                    </a:p>
                    <a:p>
                      <a:pPr marL="0" marR="0" lvl="0" indent="0" algn="l" defTabSz="76197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nb-NO" sz="1100" b="1" i="0" u="none" strike="noStrike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</a:rPr>
                        <a:t>Nevrologi og Rehabilitering</a:t>
                      </a:r>
                      <a:endParaRPr lang="en-US"/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619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19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 b="1" i="0" u="none" strike="noStrike" kern="1200" cap="none" spc="0" normalizeH="0" baseline="0" noProof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25</a:t>
                      </a:r>
                      <a:endParaRPr kumimoji="0" lang="nb-NO" sz="1100" b="1" i="0" u="none" strike="noStrike" kern="1200" cap="none" spc="0" normalizeH="0" baseline="0" noProof="1">
                        <a:ln>
                          <a:noFill/>
                        </a:ln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1208562"/>
                  </a:ext>
                </a:extLst>
              </a:tr>
              <a:tr h="568341">
                <a:tc>
                  <a:txBody>
                    <a:bodyPr/>
                    <a:lstStyle/>
                    <a:p>
                      <a:pPr marL="0" indent="0" algn="ctr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3. 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Teknisk etasje</a:t>
                      </a:r>
                    </a:p>
                  </a:txBody>
                  <a:tcPr marL="68580" marR="68580" marT="0" marB="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n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n-NO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6218125"/>
                  </a:ext>
                </a:extLst>
              </a:tr>
              <a:tr h="457863">
                <a:tc>
                  <a:txBody>
                    <a:bodyPr/>
                    <a:lstStyle/>
                    <a:p>
                      <a:pPr marL="0" indent="0" algn="ctr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. </a:t>
                      </a: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tensiv/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vervaking</a:t>
                      </a: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perasjon, </a:t>
                      </a:r>
                      <a:r>
                        <a:rPr lang="nb-NO" sz="1100" b="1" kern="1200" baseline="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agkirurgisk senter</a:t>
                      </a: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76197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nb-NO" sz="1000" b="1" i="0" u="none" strike="noStrike" kern="1200" cap="none" spc="0" normalizeH="0" baseline="0" noProof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30095590"/>
                  </a:ext>
                </a:extLst>
              </a:tr>
              <a:tr h="1765492">
                <a:tc>
                  <a:txBody>
                    <a:bodyPr/>
                    <a:lstStyle/>
                    <a:p>
                      <a:pPr marL="0" indent="0" algn="ctr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2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. </a:t>
                      </a:r>
                    </a:p>
                  </a:txBody>
                  <a:tcPr marL="68580" marR="68580" marT="0" marB="0"/>
                </a:tc>
                <a:tc gridSpan="2">
                  <a:txBody>
                    <a:bodyPr/>
                    <a:lstStyle/>
                    <a:p>
                      <a:pPr marL="0" indent="0" algn="l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oliklinikk</a:t>
                      </a:r>
                      <a:r>
                        <a:rPr lang="nb-NO" sz="1100" b="1" kern="1200" baseline="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baseline="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terilsentral</a:t>
                      </a: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lle fagområde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irurgirom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rologi/uroterapi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kopirom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Vaskesentral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nb-NO" sz="1100" b="1" kern="1200" noProof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vilesone</a:t>
                      </a: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indent="0" algn="l" defTabSz="76197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nb-NO" sz="1100" b="1" kern="1200" noProof="1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nn-NO" sz="1800"/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0255067"/>
                  </a:ext>
                </a:extLst>
              </a:tr>
            </a:tbl>
          </a:graphicData>
        </a:graphic>
      </p:graphicFrame>
      <p:sp>
        <p:nvSpPr>
          <p:cNvPr id="4" name="Likebent trekant 3"/>
          <p:cNvSpPr/>
          <p:nvPr/>
        </p:nvSpPr>
        <p:spPr>
          <a:xfrm>
            <a:off x="157020" y="115109"/>
            <a:ext cx="5652654" cy="822521"/>
          </a:xfrm>
          <a:prstGeom prst="triangle">
            <a:avLst>
              <a:gd name="adj" fmla="val 504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       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2422278" y="431885"/>
            <a:ext cx="13854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20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abygget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8157718" y="387429"/>
            <a:ext cx="23275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20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anabygget </a:t>
            </a:r>
          </a:p>
        </p:txBody>
      </p:sp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1DA980B3-C3D1-AD21-B3B9-7B4422C2D706}"/>
              </a:ext>
            </a:extLst>
          </p:cNvPr>
          <p:cNvGraphicFramePr>
            <a:graphicFrameLocks noGrp="1"/>
          </p:cNvGraphicFramePr>
          <p:nvPr/>
        </p:nvGraphicFramePr>
        <p:xfrm>
          <a:off x="6307664" y="1028052"/>
          <a:ext cx="5652654" cy="5724291"/>
        </p:xfrm>
        <a:graphic>
          <a:graphicData uri="http://schemas.openxmlformats.org/drawingml/2006/table">
            <a:tbl>
              <a:tblPr/>
              <a:tblGrid>
                <a:gridCol w="789822">
                  <a:extLst>
                    <a:ext uri="{9D8B030D-6E8A-4147-A177-3AD203B41FA5}">
                      <a16:colId xmlns:a16="http://schemas.microsoft.com/office/drawing/2014/main" val="2363990921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1414387228"/>
                    </a:ext>
                  </a:extLst>
                </a:gridCol>
                <a:gridCol w="3277872">
                  <a:extLst>
                    <a:ext uri="{9D8B030D-6E8A-4147-A177-3AD203B41FA5}">
                      <a16:colId xmlns:a16="http://schemas.microsoft.com/office/drawing/2014/main" val="1652469652"/>
                    </a:ext>
                  </a:extLst>
                </a:gridCol>
              </a:tblGrid>
              <a:tr h="582181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Etg.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Liva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n-NO" sz="1100" b="1" i="0" u="none" strike="noStrike" kern="1200">
                          <a:solidFill>
                            <a:schemeClr val="bg1"/>
                          </a:solidFill>
                          <a:latin typeface="Calibri"/>
                          <a:ea typeface="+mn-ea"/>
                          <a:cs typeface="+mn-cs"/>
                        </a:rPr>
                        <a:t>Svana, Hildra og påbygg 2000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5318323"/>
                  </a:ext>
                </a:extLst>
              </a:tr>
              <a:tr h="401213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8.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Medisin 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6 senger medisinsk sengepost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7051572"/>
                  </a:ext>
                </a:extLst>
              </a:tr>
              <a:tr h="401213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7. 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Ortopedi, Ortogeriatri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 og geriatri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Pasienthotell 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F0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8532547"/>
                  </a:ext>
                </a:extLst>
              </a:tr>
              <a:tr h="422684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6.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Kreft og kirurgi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Kreftpoliklinikk, Infusjonspoliklinikk​?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Sterilproduksjon apotek, 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Farmasitun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​?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62547"/>
                  </a:ext>
                </a:extLst>
              </a:tr>
              <a:tr h="568179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5. 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KK, Føde/barsel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Barneavdelinga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Poliklinikk barn og unge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KK, Føde/barsel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Barneavdelinga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Poliklinikk barn og unge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480187"/>
                  </a:ext>
                </a:extLst>
              </a:tr>
              <a:tr h="401213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4. 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Nevrologi og Rehabilitering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Dialyse, PD-pol, 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nefro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-pol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Apotek/sterilproduksjon​?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5129365"/>
                  </a:ext>
                </a:extLst>
              </a:tr>
              <a:tr h="568179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3. 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Teknisk etasje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Brystdiagnostisk senter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Hudavdelinga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Revmatologisk poliklinikk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8351842"/>
                  </a:ext>
                </a:extLst>
              </a:tr>
              <a:tr h="401213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2. 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Intensiv/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overvaking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Intensiv, 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oppvakning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  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Laboratoriet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D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8234647"/>
                  </a:ext>
                </a:extLst>
              </a:tr>
              <a:tr h="1968763">
                <a:tc>
                  <a:txBody>
                    <a:bodyPr/>
                    <a:lstStyle/>
                    <a:p>
                      <a:pPr algn="ctr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1. ​ 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Poliklinikk 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Sterilsentral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Fys.med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Rehab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 og Habilitering 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Apotek, Øre/nese/hals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Medisinsk poliklinikk hjerte/lunge/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gastro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Med.pol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. samtalepoliklinikk og 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utredn.post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, kreft forløp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Innskrivingssentral, Skadepoliklinikk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Kir. 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gastro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 og Kir. plastikk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Ortopedisk poliklinikk, Prøvetakingspoliklinikk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Augepoliklinikk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, Pre-operativ poliklinikk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Radiologi, Akuttmottak, </a:t>
                      </a:r>
                      <a:r>
                        <a:rPr lang="nb-NO" sz="1100" b="1" i="0" u="none" strike="noStrike" kern="120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Obs.post</a:t>
                      </a:r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, Kvilesone​</a:t>
                      </a:r>
                    </a:p>
                    <a:p>
                      <a:pPr algn="l" fontAlgn="base"/>
                      <a:r>
                        <a:rPr lang="nb-NO" sz="1100" b="1" i="0" u="none" strike="noStrike" kern="120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"/>
                          <a:ea typeface="+mn-ea"/>
                          <a:cs typeface="+mn-cs"/>
                        </a:rPr>
                        <a:t>Pasientreiser og ventesone​</a:t>
                      </a:r>
                    </a:p>
                  </a:txBody>
                  <a:tcPr marL="67554" marR="67554" marT="33777" marB="33777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475648"/>
                  </a:ext>
                </a:extLst>
              </a:tr>
            </a:tbl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FF1884AD-10B7-C3F5-82ED-DF40B692B2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664" y="161451"/>
            <a:ext cx="5652654" cy="79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A2614657-9A87-1BD7-5C42-564C749A23C1}"/>
              </a:ext>
            </a:extLst>
          </p:cNvPr>
          <p:cNvSpPr txBox="1"/>
          <p:nvPr/>
        </p:nvSpPr>
        <p:spPr>
          <a:xfrm>
            <a:off x="8544106" y="473415"/>
            <a:ext cx="13854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2000" b="0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ana</a:t>
            </a:r>
          </a:p>
        </p:txBody>
      </p:sp>
      <p:sp>
        <p:nvSpPr>
          <p:cNvPr id="16" name="Snakkeboble: oval 15">
            <a:extLst>
              <a:ext uri="{FF2B5EF4-FFF2-40B4-BE49-F238E27FC236}">
                <a16:creationId xmlns:a16="http://schemas.microsoft.com/office/drawing/2014/main" id="{08640A1E-0A71-E92B-7AC5-03867EA842D1}"/>
              </a:ext>
            </a:extLst>
          </p:cNvPr>
          <p:cNvSpPr/>
          <p:nvPr/>
        </p:nvSpPr>
        <p:spPr>
          <a:xfrm>
            <a:off x="6161073" y="5715142"/>
            <a:ext cx="2634584" cy="981407"/>
          </a:xfrm>
          <a:prstGeom prst="wedgeEllipseCallout">
            <a:avLst>
              <a:gd name="adj1" fmla="val 28940"/>
              <a:gd name="adj2" fmla="val -90268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B! Plasseringar i Svana er ikkje endeleg avklara. </a:t>
            </a:r>
            <a:r>
              <a:rPr kumimoji="0" lang="nn-NO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​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67770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AAD3D-32C8-0F2F-F765-38DD519DA3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wrap="square" anchor="b">
            <a:normAutofit/>
          </a:bodyPr>
          <a:lstStyle/>
          <a:p>
            <a:r>
              <a:rPr lang="en-US" sz="2800" noProof="1"/>
              <a:t>Flytteplan Livabygget  </a:t>
            </a:r>
          </a:p>
        </p:txBody>
      </p:sp>
      <p:pic>
        <p:nvPicPr>
          <p:cNvPr id="9" name="Plassholder for innhold 5">
            <a:extLst>
              <a:ext uri="{FF2B5EF4-FFF2-40B4-BE49-F238E27FC236}">
                <a16:creationId xmlns:a16="http://schemas.microsoft.com/office/drawing/2014/main" id="{22AA25B0-26DC-9CCC-7FA8-78C33356143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/>
          <a:srcRect l="12942" r="12944" b="1"/>
          <a:stretch/>
        </p:blipFill>
        <p:spPr bwMode="auto">
          <a:xfrm>
            <a:off x="5785365" y="1896649"/>
            <a:ext cx="5674323" cy="3730585"/>
          </a:xfrm>
          <a:prstGeom prst="rect">
            <a:avLst/>
          </a:prstGeom>
          <a:noFill/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9998B6-0F05-88CB-8FC3-FFA61A91D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4575923" cy="3595876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noProof="1"/>
              <a:t>Overtaking av Livabygget er sett til </a:t>
            </a:r>
            <a:br>
              <a:rPr lang="en-US" noProof="1"/>
            </a:br>
            <a:r>
              <a:rPr lang="en-US" b="1" noProof="1"/>
              <a:t>22. august 2024 </a:t>
            </a:r>
          </a:p>
          <a:p>
            <a:pPr>
              <a:spcAft>
                <a:spcPts val="600"/>
              </a:spcAft>
            </a:pPr>
            <a:endParaRPr lang="en-US" b="1" noProof="1"/>
          </a:p>
          <a:p>
            <a:pPr marL="0" indent="0">
              <a:spcAft>
                <a:spcPts val="600"/>
              </a:spcAft>
              <a:buNone/>
            </a:pPr>
            <a:r>
              <a:rPr lang="en-US" b="1" noProof="1"/>
              <a:t>Førebels plan for flytting/ibruktaking:</a:t>
            </a:r>
            <a:endParaRPr lang="en-US" b="1" noProof="1">
              <a:cs typeface="Calibri"/>
            </a:endParaRPr>
          </a:p>
          <a:p>
            <a:pPr>
              <a:spcAft>
                <a:spcPts val="600"/>
              </a:spcAft>
            </a:pPr>
            <a:r>
              <a:rPr lang="en-US" noProof="1"/>
              <a:t>Etasje for etasje med vekenummer og dato, dei to første vekene i september 2024 er planen at dei første flyttar inn</a:t>
            </a:r>
            <a:endParaRPr lang="en-US" noProof="1">
              <a:cs typeface="Calibri"/>
            </a:endParaRPr>
          </a:p>
          <a:p>
            <a:pPr>
              <a:spcAft>
                <a:spcPts val="600"/>
              </a:spcAft>
            </a:pPr>
            <a:endParaRPr lang="en-US" b="1" noProof="1"/>
          </a:p>
          <a:p>
            <a:pPr marL="0" indent="0">
              <a:spcAft>
                <a:spcPts val="600"/>
              </a:spcAft>
              <a:buNone/>
            </a:pPr>
            <a:endParaRPr lang="en-US"/>
          </a:p>
          <a:p>
            <a:pPr>
              <a:spcAft>
                <a:spcPts val="600"/>
              </a:spcAft>
            </a:pPr>
            <a:endParaRPr lang="en-US"/>
          </a:p>
          <a:p>
            <a:pPr>
              <a:spcAft>
                <a:spcPts val="600"/>
              </a:spcAft>
            </a:pP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A3E7AC9-98B8-0CBA-507F-03048EF793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2024843" y="1412460"/>
            <a:ext cx="107722" cy="454392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119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563B2722-4ADD-4356-AD00-3950E59C81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32450" y="3970629"/>
            <a:ext cx="3241599" cy="2647950"/>
          </a:xfrm>
        </p:spPr>
        <p:txBody>
          <a:bodyPr/>
          <a:lstStyle/>
          <a:p>
            <a:r>
              <a:rPr lang="nb-NO" sz="2800" noProof="1"/>
              <a:t>Mange i sving for å finne dei gode løysingane for pasientar, pårørande og tilsette i Livabygget</a:t>
            </a:r>
            <a:endParaRPr lang="nb-NO" sz="2800" noProof="1">
              <a:cs typeface="Calibri"/>
            </a:endParaRP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883C8FCC-3A55-4F83-96C4-E10AD85222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3" name="Plassholder for bilde 1">
            <a:extLst>
              <a:ext uri="{FF2B5EF4-FFF2-40B4-BE49-F238E27FC236}">
                <a16:creationId xmlns:a16="http://schemas.microsoft.com/office/drawing/2014/main" id="{8E64C8BB-885E-693C-8E1D-C6679A40828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79" b="26279"/>
          <a:stretch>
            <a:fillRect/>
          </a:stretch>
        </p:blipFill>
        <p:spPr>
          <a:xfrm>
            <a:off x="4246563" y="976313"/>
            <a:ext cx="7539037" cy="2682875"/>
          </a:xfrm>
        </p:spPr>
      </p:pic>
      <p:pic>
        <p:nvPicPr>
          <p:cNvPr id="4" name="Plasshaldar for bilete 4" descr="Eit bilete som inneheld person, utandørs, står, gruppe&#10;&#10;Automatisk generert skildring">
            <a:extLst>
              <a:ext uri="{FF2B5EF4-FFF2-40B4-BE49-F238E27FC236}">
                <a16:creationId xmlns:a16="http://schemas.microsoft.com/office/drawing/2014/main" id="{77AADF03-6F0F-EEE9-C782-6E8469FD4AE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1" b="2241"/>
          <a:stretch>
            <a:fillRect/>
          </a:stretch>
        </p:blipFill>
        <p:spPr>
          <a:xfrm>
            <a:off x="4246563" y="3829050"/>
            <a:ext cx="3697287" cy="2647950"/>
          </a:xfrm>
        </p:spPr>
      </p:pic>
      <p:pic>
        <p:nvPicPr>
          <p:cNvPr id="9" name="Bilde 7">
            <a:extLst>
              <a:ext uri="{FF2B5EF4-FFF2-40B4-BE49-F238E27FC236}">
                <a16:creationId xmlns:a16="http://schemas.microsoft.com/office/drawing/2014/main" id="{E5397753-7F2F-A8C9-38DA-55A83551EA6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l="24960" r="24960"/>
          <a:stretch>
            <a:fillRect/>
          </a:stretch>
        </p:blipFill>
        <p:spPr>
          <a:xfrm>
            <a:off x="406400" y="976313"/>
            <a:ext cx="3671888" cy="5500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469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RottMcokP.qo5zMjOS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SLiiuNktOBiNpgGlQo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rgbClr val="333333"/>
      </a:dk1>
      <a:lt1>
        <a:srgbClr val="FFFFFF"/>
      </a:lt1>
      <a:dk2>
        <a:srgbClr val="333333"/>
      </a:dk2>
      <a:lt2>
        <a:srgbClr val="DAD7D3"/>
      </a:lt2>
      <a:accent1>
        <a:srgbClr val="003086"/>
      </a:accent1>
      <a:accent2>
        <a:srgbClr val="6CACE4"/>
      </a:accent2>
      <a:accent3>
        <a:srgbClr val="FFD36A"/>
      </a:accent3>
      <a:accent4>
        <a:srgbClr val="FF854C"/>
      </a:accent4>
      <a:accent5>
        <a:srgbClr val="D2DDE2"/>
      </a:accent5>
      <a:accent6>
        <a:srgbClr val="9ABEAB"/>
      </a:accent6>
      <a:hlink>
        <a:srgbClr val="0563C1"/>
      </a:hlink>
      <a:folHlink>
        <a:srgbClr val="954F72"/>
      </a:folHlink>
    </a:clrScheme>
    <a:fontScheme name="Egendefinert 5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elseForde.potx" id="{B5CD0ABB-A9FC-4F5D-87D9-BC460E7839B6}" vid="{5C7E5A9F-8150-441F-AA89-AE5A151B691D}"/>
    </a:ext>
  </a:extLst>
</a:theme>
</file>

<file path=ppt/theme/theme2.xml><?xml version="1.0" encoding="utf-8"?>
<a:theme xmlns:a="http://schemas.openxmlformats.org/drawingml/2006/main" name="11_Mal01_Format_16-9">
  <a:themeElements>
    <a:clrScheme name="Helse Vest">
      <a:dk1>
        <a:sysClr val="windowText" lastClr="000000"/>
      </a:dk1>
      <a:lt1>
        <a:sysClr val="window" lastClr="FFFFFF"/>
      </a:lt1>
      <a:dk2>
        <a:srgbClr val="323232"/>
      </a:dk2>
      <a:lt2>
        <a:srgbClr val="E7E6E6"/>
      </a:lt2>
      <a:accent1>
        <a:srgbClr val="00338D"/>
      </a:accent1>
      <a:accent2>
        <a:srgbClr val="86786F"/>
      </a:accent2>
      <a:accent3>
        <a:srgbClr val="7AB2DC"/>
      </a:accent3>
      <a:accent4>
        <a:srgbClr val="F7D93E"/>
      </a:accent4>
      <a:accent5>
        <a:srgbClr val="FA7369"/>
      </a:accent5>
      <a:accent6>
        <a:srgbClr val="7DDBD4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HelseVest_16_9.potx" id="{3327F725-F5AB-4F23-8515-419A6D40C242}" vid="{9E4DF230-4A50-432A-B0B1-1FB5168D8C87}"/>
    </a:ext>
  </a:extLst>
</a:theme>
</file>

<file path=ppt/theme/theme3.xml><?xml version="1.0" encoding="utf-8"?>
<a:theme xmlns:a="http://schemas.openxmlformats.org/drawingml/2006/main" name="4_Mal01_Format_16-9">
  <a:themeElements>
    <a:clrScheme name="Helse Vest">
      <a:dk1>
        <a:sysClr val="windowText" lastClr="000000"/>
      </a:dk1>
      <a:lt1>
        <a:sysClr val="window" lastClr="FFFFFF"/>
      </a:lt1>
      <a:dk2>
        <a:srgbClr val="323232"/>
      </a:dk2>
      <a:lt2>
        <a:srgbClr val="E7E6E6"/>
      </a:lt2>
      <a:accent1>
        <a:srgbClr val="00338D"/>
      </a:accent1>
      <a:accent2>
        <a:srgbClr val="86786F"/>
      </a:accent2>
      <a:accent3>
        <a:srgbClr val="7AB2DC"/>
      </a:accent3>
      <a:accent4>
        <a:srgbClr val="F7D93E"/>
      </a:accent4>
      <a:accent5>
        <a:srgbClr val="FA7369"/>
      </a:accent5>
      <a:accent6>
        <a:srgbClr val="7DDBD4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HelseVest_16_9.potx" id="{3327F725-F5AB-4F23-8515-419A6D40C242}" vid="{9E4DF230-4A50-432A-B0B1-1FB5168D8C87}"/>
    </a:ext>
  </a:extLst>
</a:theme>
</file>

<file path=ppt/theme/theme4.xml><?xml version="1.0" encoding="utf-8"?>
<a:theme xmlns:a="http://schemas.openxmlformats.org/drawingml/2006/main" name="12_Mal01_Format_16-9">
  <a:themeElements>
    <a:clrScheme name="Helse Vest">
      <a:dk1>
        <a:sysClr val="windowText" lastClr="000000"/>
      </a:dk1>
      <a:lt1>
        <a:sysClr val="window" lastClr="FFFFFF"/>
      </a:lt1>
      <a:dk2>
        <a:srgbClr val="323232"/>
      </a:dk2>
      <a:lt2>
        <a:srgbClr val="E7E6E6"/>
      </a:lt2>
      <a:accent1>
        <a:srgbClr val="00338D"/>
      </a:accent1>
      <a:accent2>
        <a:srgbClr val="86786F"/>
      </a:accent2>
      <a:accent3>
        <a:srgbClr val="7AB2DC"/>
      </a:accent3>
      <a:accent4>
        <a:srgbClr val="F7D93E"/>
      </a:accent4>
      <a:accent5>
        <a:srgbClr val="FA7369"/>
      </a:accent5>
      <a:accent6>
        <a:srgbClr val="7DDBD4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HelseVest_16_9.potx" id="{3327F725-F5AB-4F23-8515-419A6D40C242}" vid="{9E4DF230-4A50-432A-B0B1-1FB5168D8C87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BD309B6A52F554F9BDB347074E27721" ma:contentTypeVersion="6" ma:contentTypeDescription="Opprett et nytt dokument." ma:contentTypeScope="" ma:versionID="526764524534fd9e4be3dc4fa2004d6d">
  <xsd:schema xmlns:xsd="http://www.w3.org/2001/XMLSchema" xmlns:xs="http://www.w3.org/2001/XMLSchema" xmlns:p="http://schemas.microsoft.com/office/2006/metadata/properties" xmlns:ns2="a4a8f205-c76f-418d-9770-22907836f8ae" targetNamespace="http://schemas.microsoft.com/office/2006/metadata/properties" ma:root="true" ma:fieldsID="cc00e57f31c25b2ed4db1d8030cca91a" ns2:_="">
    <xsd:import namespace="a4a8f205-c76f-418d-9770-22907836f8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a8f205-c76f-418d-9770-22907836f8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C0368E-6646-4531-A2CD-99EED5C163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DDBC0F8-1511-4FB7-8883-8074DF7DC681}">
  <ds:schemaRefs>
    <ds:schemaRef ds:uri="a4a8f205-c76f-418d-9770-22907836f8ae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AA34D195-683B-4B17-BD9D-A89B30C07688}">
  <ds:schemaRefs>
    <ds:schemaRef ds:uri="a4a8f205-c76f-418d-9770-22907836f8a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elseForde</Template>
  <TotalTime>9</TotalTime>
  <Words>1000</Words>
  <Application>Microsoft Office PowerPoint</Application>
  <PresentationFormat>Widescreen</PresentationFormat>
  <Paragraphs>231</Paragraphs>
  <Slides>18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4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29" baseType="lpstr">
      <vt:lpstr>Arial</vt:lpstr>
      <vt:lpstr>Bell MT</vt:lpstr>
      <vt:lpstr>Calibri</vt:lpstr>
      <vt:lpstr>Calibri Light</vt:lpstr>
      <vt:lpstr>Cambria</vt:lpstr>
      <vt:lpstr>ScalaSans</vt:lpstr>
      <vt:lpstr>Office-tema</vt:lpstr>
      <vt:lpstr>11_Mal01_Format_16-9</vt:lpstr>
      <vt:lpstr>4_Mal01_Format_16-9</vt:lpstr>
      <vt:lpstr>12_Mal01_Format_16-9</vt:lpstr>
      <vt:lpstr>think-cell Slide</vt:lpstr>
      <vt:lpstr>Nye Førde sjukehus</vt:lpstr>
      <vt:lpstr>Kvifor har vi eit sjukehusprosjekt i Førde?</vt:lpstr>
      <vt:lpstr>Oversikt over sjukehusområdet</vt:lpstr>
      <vt:lpstr>Prosjektet har ei lang tidslinje</vt:lpstr>
      <vt:lpstr>Livabygget, innflytting hausten 2024</vt:lpstr>
      <vt:lpstr>Slik blir etasjefordelinga i Livabygget, 123 senger </vt:lpstr>
      <vt:lpstr>PowerPoint-presentasjon</vt:lpstr>
      <vt:lpstr>Flytteplan Livabygget  </vt:lpstr>
      <vt:lpstr>Mange i sving for å finne dei gode løysingane for pasientar, pårørande og tilsette i Livabygget</vt:lpstr>
      <vt:lpstr>Tenesteutvikling i Pasientens helseteneste</vt:lpstr>
      <vt:lpstr>PowerPoint-presentasjon</vt:lpstr>
      <vt:lpstr>Pasienttilbodet i Livabygget </vt:lpstr>
      <vt:lpstr>Kva blir dei største endringane? </vt:lpstr>
      <vt:lpstr>Øving gir verdifull innsikt </vt:lpstr>
      <vt:lpstr>Velkommen til ein kikk inn i Livabygget </vt:lpstr>
      <vt:lpstr>Omstilling utfordrar organisasjonen</vt:lpstr>
      <vt:lpstr> ”Når forandringens vind blåser bygger noen vindmøller mens andre kryper i skjul”</vt:lpstr>
      <vt:lpstr>Positivt eller negativt?</vt:lpstr>
    </vt:vector>
  </TitlesOfParts>
  <Company>Helse Vest IK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«Nytt og nyttig»</dc:title>
  <dc:creator>Hjelmeland, Hilde Elvebakk</dc:creator>
  <cp:lastModifiedBy>Solheim, Randi Berit</cp:lastModifiedBy>
  <cp:revision>2</cp:revision>
  <dcterms:created xsi:type="dcterms:W3CDTF">2024-01-09T07:39:44Z</dcterms:created>
  <dcterms:modified xsi:type="dcterms:W3CDTF">2024-02-29T08:15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A64CA4F428DE40BC8DD3D6461049DA</vt:lpwstr>
  </property>
  <property fmtid="{D5CDD505-2E9C-101B-9397-08002B2CF9AE}" pid="3" name="MediaServiceImageTags">
    <vt:lpwstr/>
  </property>
  <property fmtid="{D5CDD505-2E9C-101B-9397-08002B2CF9AE}" pid="4" name="MSIP_Label_0c3ffc1c-ef00-4620-9c2f-7d9c1597774b_Enabled">
    <vt:lpwstr>true</vt:lpwstr>
  </property>
  <property fmtid="{D5CDD505-2E9C-101B-9397-08002B2CF9AE}" pid="5" name="MSIP_Label_0c3ffc1c-ef00-4620-9c2f-7d9c1597774b_SetDate">
    <vt:lpwstr>2023-07-07T10:35:00Z</vt:lpwstr>
  </property>
  <property fmtid="{D5CDD505-2E9C-101B-9397-08002B2CF9AE}" pid="6" name="MSIP_Label_0c3ffc1c-ef00-4620-9c2f-7d9c1597774b_Method">
    <vt:lpwstr>Privileged</vt:lpwstr>
  </property>
  <property fmtid="{D5CDD505-2E9C-101B-9397-08002B2CF9AE}" pid="7" name="MSIP_Label_0c3ffc1c-ef00-4620-9c2f-7d9c1597774b_Name">
    <vt:lpwstr>Intern</vt:lpwstr>
  </property>
  <property fmtid="{D5CDD505-2E9C-101B-9397-08002B2CF9AE}" pid="8" name="MSIP_Label_0c3ffc1c-ef00-4620-9c2f-7d9c1597774b_SiteId">
    <vt:lpwstr>bdcbe535-f3cf-49f5-8a6a-fb6d98dc7837</vt:lpwstr>
  </property>
  <property fmtid="{D5CDD505-2E9C-101B-9397-08002B2CF9AE}" pid="9" name="MSIP_Label_0c3ffc1c-ef00-4620-9c2f-7d9c1597774b_ActionId">
    <vt:lpwstr>ff98dd7f-2614-45c6-8d3b-596b7816d749</vt:lpwstr>
  </property>
  <property fmtid="{D5CDD505-2E9C-101B-9397-08002B2CF9AE}" pid="10" name="MSIP_Label_0c3ffc1c-ef00-4620-9c2f-7d9c1597774b_ContentBits">
    <vt:lpwstr>2</vt:lpwstr>
  </property>
</Properties>
</file>